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3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730" r:id="rId5"/>
    <p:sldMasterId id="2147483794" r:id="rId6"/>
    <p:sldMasterId id="2147483850" r:id="rId7"/>
  </p:sldMasterIdLst>
  <p:notesMasterIdLst>
    <p:notesMasterId r:id="rId13"/>
  </p:notesMasterIdLst>
  <p:sldIdLst>
    <p:sldId id="2141411873" r:id="rId8"/>
    <p:sldId id="2141411863" r:id="rId9"/>
    <p:sldId id="2141411864" r:id="rId10"/>
    <p:sldId id="2141411866" r:id="rId11"/>
    <p:sldId id="2141411865" r:id="rId12"/>
  </p:sldIdLst>
  <p:sldSz cx="12192000" cy="6858000"/>
  <p:notesSz cx="6669088" cy="97536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F8C3534-3999-4C78-9D3A-CAB071CA7B3B}" name="Anna Katrine Asprem Hvardal" initials="AH" userId="S::annakatrineasprem.hvardal@dfo.no::b8fa0b22-0758-49db-ac53-c2dd84682ca9" providerId="AD"/>
  <p188:author id="{2B32C4F2-AA42-B5B1-7B1C-2C35C84A79BB}" name="Terese Aas" initials="TA" userId="S::terese.aas@dfo.no::4d6298ad-11bb-42a0-8252-f3f6a1bc0a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DDE2"/>
    <a:srgbClr val="0097AB"/>
    <a:srgbClr val="669DBD"/>
    <a:srgbClr val="2A578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70931F-A7E5-4329-8FFE-C6366F229FAD}" v="60" dt="2023-10-26T12:49:50.1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125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v Helén Egelund Gjerstad" userId="17e97de8-76d5-4cb1-9355-6ee37e024a83" providerId="ADAL" clId="{C770931F-A7E5-4329-8FFE-C6366F229FAD}"/>
    <pc:docChg chg="custSel delSld modSld sldOrd">
      <pc:chgData name="Siv Helén Egelund Gjerstad" userId="17e97de8-76d5-4cb1-9355-6ee37e024a83" providerId="ADAL" clId="{C770931F-A7E5-4329-8FFE-C6366F229FAD}" dt="2023-10-26T12:56:05.964" v="411" actId="255"/>
      <pc:docMkLst>
        <pc:docMk/>
      </pc:docMkLst>
      <pc:sldChg chg="del">
        <pc:chgData name="Siv Helén Egelund Gjerstad" userId="17e97de8-76d5-4cb1-9355-6ee37e024a83" providerId="ADAL" clId="{C770931F-A7E5-4329-8FFE-C6366F229FAD}" dt="2023-10-23T18:52:27.544" v="10" actId="47"/>
        <pc:sldMkLst>
          <pc:docMk/>
          <pc:sldMk cId="2844880859" sldId="2141411862"/>
        </pc:sldMkLst>
      </pc:sldChg>
      <pc:sldChg chg="delSp modSp mod">
        <pc:chgData name="Siv Helén Egelund Gjerstad" userId="17e97de8-76d5-4cb1-9355-6ee37e024a83" providerId="ADAL" clId="{C770931F-A7E5-4329-8FFE-C6366F229FAD}" dt="2023-10-26T12:52:51.947" v="288" actId="478"/>
        <pc:sldMkLst>
          <pc:docMk/>
          <pc:sldMk cId="1278947276" sldId="2141411863"/>
        </pc:sldMkLst>
        <pc:spChg chg="mod">
          <ac:chgData name="Siv Helén Egelund Gjerstad" userId="17e97de8-76d5-4cb1-9355-6ee37e024a83" providerId="ADAL" clId="{C770931F-A7E5-4329-8FFE-C6366F229FAD}" dt="2023-10-24T14:25:52.897" v="28" actId="2711"/>
          <ac:spMkLst>
            <pc:docMk/>
            <pc:sldMk cId="1278947276" sldId="2141411863"/>
            <ac:spMk id="2" creationId="{4530E2BA-D5B7-AF4E-1F02-4FB852DDC78B}"/>
          </ac:spMkLst>
        </pc:spChg>
        <pc:spChg chg="mod">
          <ac:chgData name="Siv Helén Egelund Gjerstad" userId="17e97de8-76d5-4cb1-9355-6ee37e024a83" providerId="ADAL" clId="{C770931F-A7E5-4329-8FFE-C6366F229FAD}" dt="2023-10-24T14:27:04.241" v="48" actId="20577"/>
          <ac:spMkLst>
            <pc:docMk/>
            <pc:sldMk cId="1278947276" sldId="2141411863"/>
            <ac:spMk id="3" creationId="{0BCDA0C7-2DB1-4E40-B5D2-FB3083144029}"/>
          </ac:spMkLst>
        </pc:spChg>
        <pc:spChg chg="del">
          <ac:chgData name="Siv Helén Egelund Gjerstad" userId="17e97de8-76d5-4cb1-9355-6ee37e024a83" providerId="ADAL" clId="{C770931F-A7E5-4329-8FFE-C6366F229FAD}" dt="2023-10-26T12:52:51.947" v="288" actId="478"/>
          <ac:spMkLst>
            <pc:docMk/>
            <pc:sldMk cId="1278947276" sldId="2141411863"/>
            <ac:spMk id="4" creationId="{FF8F4347-E6B9-92BD-0887-650D8922C918}"/>
          </ac:spMkLst>
        </pc:spChg>
      </pc:sldChg>
      <pc:sldChg chg="addSp delSp modSp mod delCm">
        <pc:chgData name="Siv Helén Egelund Gjerstad" userId="17e97de8-76d5-4cb1-9355-6ee37e024a83" providerId="ADAL" clId="{C770931F-A7E5-4329-8FFE-C6366F229FAD}" dt="2023-10-26T12:54:46.426" v="410" actId="962"/>
        <pc:sldMkLst>
          <pc:docMk/>
          <pc:sldMk cId="950677205" sldId="2141411864"/>
        </pc:sldMkLst>
        <pc:spChg chg="del">
          <ac:chgData name="Siv Helén Egelund Gjerstad" userId="17e97de8-76d5-4cb1-9355-6ee37e024a83" providerId="ADAL" clId="{C770931F-A7E5-4329-8FFE-C6366F229FAD}" dt="2023-10-24T14:27:10.865" v="49" actId="478"/>
          <ac:spMkLst>
            <pc:docMk/>
            <pc:sldMk cId="950677205" sldId="2141411864"/>
            <ac:spMk id="3" creationId="{0BCDA0C7-2DB1-4E40-B5D2-FB3083144029}"/>
          </ac:spMkLst>
        </pc:spChg>
        <pc:spChg chg="add del mod">
          <ac:chgData name="Siv Helén Egelund Gjerstad" userId="17e97de8-76d5-4cb1-9355-6ee37e024a83" providerId="ADAL" clId="{C770931F-A7E5-4329-8FFE-C6366F229FAD}" dt="2023-10-24T14:27:14.692" v="50" actId="478"/>
          <ac:spMkLst>
            <pc:docMk/>
            <pc:sldMk cId="950677205" sldId="2141411864"/>
            <ac:spMk id="6" creationId="{EC7B4124-0552-A67A-1EAE-54446EDC3C7C}"/>
          </ac:spMkLst>
        </pc:spChg>
        <pc:graphicFrameChg chg="mod modGraphic">
          <ac:chgData name="Siv Helén Egelund Gjerstad" userId="17e97de8-76d5-4cb1-9355-6ee37e024a83" providerId="ADAL" clId="{C770931F-A7E5-4329-8FFE-C6366F229FAD}" dt="2023-10-26T12:54:46.426" v="410" actId="962"/>
          <ac:graphicFrameMkLst>
            <pc:docMk/>
            <pc:sldMk cId="950677205" sldId="2141411864"/>
            <ac:graphicFrameMk id="4" creationId="{29662061-C940-DC39-3B66-8151BA3EE603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Siv Helén Egelund Gjerstad" userId="17e97de8-76d5-4cb1-9355-6ee37e024a83" providerId="ADAL" clId="{C770931F-A7E5-4329-8FFE-C6366F229FAD}" dt="2023-10-26T12:54:19.647" v="308"/>
              <pc2:cmMkLst xmlns:pc2="http://schemas.microsoft.com/office/powerpoint/2019/9/main/command">
                <pc:docMk/>
                <pc:sldMk cId="950677205" sldId="2141411864"/>
                <pc2:cmMk id="{00D6998A-CA20-4245-A31E-E792F21B2FD1}"/>
              </pc2:cmMkLst>
            </pc226:cmChg>
          </p:ext>
        </pc:extLst>
      </pc:sldChg>
      <pc:sldChg chg="modSp mod">
        <pc:chgData name="Siv Helén Egelund Gjerstad" userId="17e97de8-76d5-4cb1-9355-6ee37e024a83" providerId="ADAL" clId="{C770931F-A7E5-4329-8FFE-C6366F229FAD}" dt="2023-10-24T14:28:24.104" v="63" actId="20577"/>
        <pc:sldMkLst>
          <pc:docMk/>
          <pc:sldMk cId="2906844991" sldId="2141411865"/>
        </pc:sldMkLst>
        <pc:spChg chg="mod">
          <ac:chgData name="Siv Helén Egelund Gjerstad" userId="17e97de8-76d5-4cb1-9355-6ee37e024a83" providerId="ADAL" clId="{C770931F-A7E5-4329-8FFE-C6366F229FAD}" dt="2023-10-24T14:28:24.104" v="63" actId="20577"/>
          <ac:spMkLst>
            <pc:docMk/>
            <pc:sldMk cId="2906844991" sldId="2141411865"/>
            <ac:spMk id="3" creationId="{24E8483B-1DF9-5C23-90D2-9339B61B597E}"/>
          </ac:spMkLst>
        </pc:spChg>
      </pc:sldChg>
      <pc:sldChg chg="modSp mod">
        <pc:chgData name="Siv Helén Egelund Gjerstad" userId="17e97de8-76d5-4cb1-9355-6ee37e024a83" providerId="ADAL" clId="{C770931F-A7E5-4329-8FFE-C6366F229FAD}" dt="2023-10-26T12:56:05.964" v="411" actId="255"/>
        <pc:sldMkLst>
          <pc:docMk/>
          <pc:sldMk cId="1664937074" sldId="2141411866"/>
        </pc:sldMkLst>
        <pc:spChg chg="mod">
          <ac:chgData name="Siv Helén Egelund Gjerstad" userId="17e97de8-76d5-4cb1-9355-6ee37e024a83" providerId="ADAL" clId="{C770931F-A7E5-4329-8FFE-C6366F229FAD}" dt="2023-10-26T12:56:05.964" v="411" actId="255"/>
          <ac:spMkLst>
            <pc:docMk/>
            <pc:sldMk cId="1664937074" sldId="2141411866"/>
            <ac:spMk id="2" creationId="{82E4B4BB-CE4A-7D07-EC4C-C65C2C50D16D}"/>
          </ac:spMkLst>
        </pc:spChg>
        <pc:spChg chg="mod">
          <ac:chgData name="Siv Helén Egelund Gjerstad" userId="17e97de8-76d5-4cb1-9355-6ee37e024a83" providerId="ADAL" clId="{C770931F-A7E5-4329-8FFE-C6366F229FAD}" dt="2023-10-24T14:28:07.448" v="61" actId="404"/>
          <ac:spMkLst>
            <pc:docMk/>
            <pc:sldMk cId="1664937074" sldId="2141411866"/>
            <ac:spMk id="3" creationId="{6137882E-55FB-37B8-8D4D-4603B8F35F91}"/>
          </ac:spMkLst>
        </pc:spChg>
      </pc:sldChg>
      <pc:sldChg chg="del">
        <pc:chgData name="Siv Helén Egelund Gjerstad" userId="17e97de8-76d5-4cb1-9355-6ee37e024a83" providerId="ADAL" clId="{C770931F-A7E5-4329-8FFE-C6366F229FAD}" dt="2023-10-23T18:09:04.587" v="1" actId="47"/>
        <pc:sldMkLst>
          <pc:docMk/>
          <pc:sldMk cId="1508774382" sldId="2141411868"/>
        </pc:sldMkLst>
      </pc:sldChg>
      <pc:sldChg chg="del">
        <pc:chgData name="Siv Helén Egelund Gjerstad" userId="17e97de8-76d5-4cb1-9355-6ee37e024a83" providerId="ADAL" clId="{C770931F-A7E5-4329-8FFE-C6366F229FAD}" dt="2023-10-26T12:54:13.695" v="307" actId="47"/>
        <pc:sldMkLst>
          <pc:docMk/>
          <pc:sldMk cId="2534837723" sldId="2141411869"/>
        </pc:sldMkLst>
      </pc:sldChg>
      <pc:sldChg chg="del ord">
        <pc:chgData name="Siv Helén Egelund Gjerstad" userId="17e97de8-76d5-4cb1-9355-6ee37e024a83" providerId="ADAL" clId="{C770931F-A7E5-4329-8FFE-C6366F229FAD}" dt="2023-10-23T18:52:17.740" v="9" actId="47"/>
        <pc:sldMkLst>
          <pc:docMk/>
          <pc:sldMk cId="3399919762" sldId="2141411870"/>
        </pc:sldMkLst>
      </pc:sldChg>
      <pc:sldChg chg="modSp del mod ord">
        <pc:chgData name="Siv Helén Egelund Gjerstad" userId="17e97de8-76d5-4cb1-9355-6ee37e024a83" providerId="ADAL" clId="{C770931F-A7E5-4329-8FFE-C6366F229FAD}" dt="2023-10-26T12:54:13.695" v="307" actId="47"/>
        <pc:sldMkLst>
          <pc:docMk/>
          <pc:sldMk cId="2685886358" sldId="2141411871"/>
        </pc:sldMkLst>
        <pc:spChg chg="mod">
          <ac:chgData name="Siv Helén Egelund Gjerstad" userId="17e97de8-76d5-4cb1-9355-6ee37e024a83" providerId="ADAL" clId="{C770931F-A7E5-4329-8FFE-C6366F229FAD}" dt="2023-10-24T14:36:04.919" v="84" actId="20577"/>
          <ac:spMkLst>
            <pc:docMk/>
            <pc:sldMk cId="2685886358" sldId="2141411871"/>
            <ac:spMk id="2" creationId="{53B6BD47-5690-12E2-C729-9659C94F82D9}"/>
          </ac:spMkLst>
        </pc:spChg>
        <pc:spChg chg="mod">
          <ac:chgData name="Siv Helén Egelund Gjerstad" userId="17e97de8-76d5-4cb1-9355-6ee37e024a83" providerId="ADAL" clId="{C770931F-A7E5-4329-8FFE-C6366F229FAD}" dt="2023-10-24T14:38:15.168" v="227" actId="20577"/>
          <ac:spMkLst>
            <pc:docMk/>
            <pc:sldMk cId="2685886358" sldId="2141411871"/>
            <ac:spMk id="3" creationId="{EDDAF524-B58F-BB04-E829-510BA7AF9575}"/>
          </ac:spMkLst>
        </pc:spChg>
      </pc:sldChg>
      <pc:sldChg chg="modSp del mod">
        <pc:chgData name="Siv Helén Egelund Gjerstad" userId="17e97de8-76d5-4cb1-9355-6ee37e024a83" providerId="ADAL" clId="{C770931F-A7E5-4329-8FFE-C6366F229FAD}" dt="2023-10-23T18:51:55.235" v="6" actId="47"/>
        <pc:sldMkLst>
          <pc:docMk/>
          <pc:sldMk cId="3622896525" sldId="2141411872"/>
        </pc:sldMkLst>
        <pc:spChg chg="mod">
          <ac:chgData name="Siv Helén Egelund Gjerstad" userId="17e97de8-76d5-4cb1-9355-6ee37e024a83" providerId="ADAL" clId="{C770931F-A7E5-4329-8FFE-C6366F229FAD}" dt="2023-10-23T18:10:13.332" v="5" actId="404"/>
          <ac:spMkLst>
            <pc:docMk/>
            <pc:sldMk cId="3622896525" sldId="2141411872"/>
            <ac:spMk id="3" creationId="{5EF2E185-6155-F05B-B0C0-120AC4E3CA03}"/>
          </ac:spMkLst>
        </pc:spChg>
      </pc:sldChg>
      <pc:sldChg chg="modSp mod">
        <pc:chgData name="Siv Helén Egelund Gjerstad" userId="17e97de8-76d5-4cb1-9355-6ee37e024a83" providerId="ADAL" clId="{C770931F-A7E5-4329-8FFE-C6366F229FAD}" dt="2023-10-26T12:49:50.197" v="287" actId="962"/>
        <pc:sldMkLst>
          <pc:docMk/>
          <pc:sldMk cId="2380733484" sldId="2141411873"/>
        </pc:sldMkLst>
        <pc:spChg chg="mod">
          <ac:chgData name="Siv Helén Egelund Gjerstad" userId="17e97de8-76d5-4cb1-9355-6ee37e024a83" providerId="ADAL" clId="{C770931F-A7E5-4329-8FFE-C6366F229FAD}" dt="2023-10-24T14:24:39.359" v="11" actId="20577"/>
          <ac:spMkLst>
            <pc:docMk/>
            <pc:sldMk cId="2380733484" sldId="2141411873"/>
            <ac:spMk id="4" creationId="{B4D4DCA4-D99A-DBC9-307D-C24D4DA0DD09}"/>
          </ac:spMkLst>
        </pc:spChg>
        <pc:graphicFrameChg chg="mod">
          <ac:chgData name="Siv Helén Egelund Gjerstad" userId="17e97de8-76d5-4cb1-9355-6ee37e024a83" providerId="ADAL" clId="{C770931F-A7E5-4329-8FFE-C6366F229FAD}" dt="2023-10-26T12:49:50.197" v="287" actId="962"/>
          <ac:graphicFrameMkLst>
            <pc:docMk/>
            <pc:sldMk cId="2380733484" sldId="2141411873"/>
            <ac:graphicFrameMk id="5" creationId="{28B60DCB-9903-6A70-029D-45A0366611A9}"/>
          </ac:graphicFrameMkLst>
        </pc:graphicFrameChg>
      </pc:sldChg>
      <pc:sldChg chg="del">
        <pc:chgData name="Siv Helén Egelund Gjerstad" userId="17e97de8-76d5-4cb1-9355-6ee37e024a83" providerId="ADAL" clId="{C770931F-A7E5-4329-8FFE-C6366F229FAD}" dt="2023-10-24T14:27:57.676" v="60" actId="47"/>
        <pc:sldMkLst>
          <pc:docMk/>
          <pc:sldMk cId="3630483588" sldId="2141411874"/>
        </pc:sldMkLst>
      </pc:sldChg>
      <pc:sldChg chg="del">
        <pc:chgData name="Siv Helén Egelund Gjerstad" userId="17e97de8-76d5-4cb1-9355-6ee37e024a83" providerId="ADAL" clId="{C770931F-A7E5-4329-8FFE-C6366F229FAD}" dt="2023-10-23T18:09:01.657" v="0" actId="47"/>
        <pc:sldMkLst>
          <pc:docMk/>
          <pc:sldMk cId="1877310538" sldId="2141411875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67588E-7ACC-4700-BDF9-2A04808EED77}" type="doc">
      <dgm:prSet loTypeId="urn:microsoft.com/office/officeart/2005/8/layout/chevron1" loCatId="process" qsTypeId="urn:microsoft.com/office/officeart/2005/8/quickstyle/simple1" qsCatId="simple" csTypeId="urn:microsoft.com/office/officeart/2005/8/colors/accent6_2" csCatId="accent6" phldr="1"/>
      <dgm:spPr/>
    </dgm:pt>
    <dgm:pt modelId="{9792CB41-D662-4B4C-BF8E-C8E682E19713}">
      <dgm:prSet phldrT="[Tekst]"/>
      <dgm:spPr>
        <a:solidFill>
          <a:srgbClr val="669DBD"/>
        </a:solidFill>
      </dgm:spPr>
      <dgm:t>
        <a:bodyPr/>
        <a:lstStyle/>
        <a:p>
          <a:r>
            <a:rPr lang="nb-NO" dirty="0">
              <a:solidFill>
                <a:srgbClr val="0D3B73"/>
              </a:solidFill>
              <a:latin typeface="Source Sans Pro" panose="020B0503030403020204" pitchFamily="34" charset="0"/>
              <a:ea typeface="Source Sans Pro" panose="020B0503030403020204" pitchFamily="34" charset="0"/>
            </a:rPr>
            <a:t>Forankre og planlegge</a:t>
          </a:r>
        </a:p>
      </dgm:t>
    </dgm:pt>
    <dgm:pt modelId="{6E1F7F80-8AC5-453E-ABBD-7DE3696F9A29}" type="parTrans" cxnId="{51E38C7E-85D5-44F3-BEA0-4FE7BBBF89FE}">
      <dgm:prSet/>
      <dgm:spPr/>
      <dgm:t>
        <a:bodyPr/>
        <a:lstStyle/>
        <a:p>
          <a:endParaRPr lang="nb-NO"/>
        </a:p>
      </dgm:t>
    </dgm:pt>
    <dgm:pt modelId="{82871150-957D-49A5-AFB5-E1108E44366A}" type="sibTrans" cxnId="{51E38C7E-85D5-44F3-BEA0-4FE7BBBF89FE}">
      <dgm:prSet/>
      <dgm:spPr/>
      <dgm:t>
        <a:bodyPr/>
        <a:lstStyle/>
        <a:p>
          <a:endParaRPr lang="nb-NO"/>
        </a:p>
      </dgm:t>
    </dgm:pt>
    <dgm:pt modelId="{C71BE19B-5B2D-42CB-BAEC-32C0E7ACC873}">
      <dgm:prSet phldrT="[Tekst]"/>
      <dgm:spPr/>
      <dgm:t>
        <a:bodyPr/>
        <a:lstStyle/>
        <a:p>
          <a:r>
            <a:rPr lang="nb-NO" dirty="0">
              <a:latin typeface="Source Sans Pro" panose="020B0503030403020204" pitchFamily="34" charset="0"/>
              <a:ea typeface="Source Sans Pro" panose="020B0503030403020204" pitchFamily="34" charset="0"/>
            </a:rPr>
            <a:t>Kartlegge nåsituasjon</a:t>
          </a:r>
        </a:p>
      </dgm:t>
    </dgm:pt>
    <dgm:pt modelId="{7E3BDF23-7EBB-4AC7-92AA-1F3D603A8584}" type="parTrans" cxnId="{37CCE8F3-C70E-4342-994D-F2A32356000D}">
      <dgm:prSet/>
      <dgm:spPr/>
      <dgm:t>
        <a:bodyPr/>
        <a:lstStyle/>
        <a:p>
          <a:endParaRPr lang="nb-NO"/>
        </a:p>
      </dgm:t>
    </dgm:pt>
    <dgm:pt modelId="{078F8546-73B8-406F-877F-C056DBF385A6}" type="sibTrans" cxnId="{37CCE8F3-C70E-4342-994D-F2A32356000D}">
      <dgm:prSet/>
      <dgm:spPr/>
      <dgm:t>
        <a:bodyPr/>
        <a:lstStyle/>
        <a:p>
          <a:endParaRPr lang="nb-NO"/>
        </a:p>
      </dgm:t>
    </dgm:pt>
    <dgm:pt modelId="{40C9884B-C44D-46C9-B263-864B0F1DE8C5}">
      <dgm:prSet phldrT="[Tekst]"/>
      <dgm:spPr/>
      <dgm:t>
        <a:bodyPr/>
        <a:lstStyle/>
        <a:p>
          <a:r>
            <a:rPr lang="nb-NO" dirty="0">
              <a:latin typeface="Source Sans Pro" panose="020B0503030403020204" pitchFamily="34" charset="0"/>
              <a:ea typeface="Source Sans Pro" panose="020B0503030403020204" pitchFamily="34" charset="0"/>
            </a:rPr>
            <a:t>Utforme strategi</a:t>
          </a:r>
        </a:p>
      </dgm:t>
    </dgm:pt>
    <dgm:pt modelId="{CB1DA08E-5711-4B4D-BC26-4529220A6E9C}" type="parTrans" cxnId="{2FD44FC3-5EF8-4EED-A0AB-E16980BC3A59}">
      <dgm:prSet/>
      <dgm:spPr/>
      <dgm:t>
        <a:bodyPr/>
        <a:lstStyle/>
        <a:p>
          <a:endParaRPr lang="nb-NO"/>
        </a:p>
      </dgm:t>
    </dgm:pt>
    <dgm:pt modelId="{7728D87E-91AE-470E-94D1-F90D3DFE3BB5}" type="sibTrans" cxnId="{2FD44FC3-5EF8-4EED-A0AB-E16980BC3A59}">
      <dgm:prSet/>
      <dgm:spPr/>
      <dgm:t>
        <a:bodyPr/>
        <a:lstStyle/>
        <a:p>
          <a:endParaRPr lang="nb-NO"/>
        </a:p>
      </dgm:t>
    </dgm:pt>
    <dgm:pt modelId="{4B54F046-56E9-42FE-81ED-5ADBBFFB43DF}">
      <dgm:prSet phldrT="[Tekst]"/>
      <dgm:spPr/>
      <dgm:t>
        <a:bodyPr/>
        <a:lstStyle/>
        <a:p>
          <a:r>
            <a:rPr lang="nb-NO" dirty="0">
              <a:latin typeface="Source Sans Pro" panose="020B0503030403020204" pitchFamily="34" charset="0"/>
              <a:ea typeface="Source Sans Pro" panose="020B0503030403020204" pitchFamily="34" charset="0"/>
            </a:rPr>
            <a:t>Implementere og følge opp</a:t>
          </a:r>
        </a:p>
      </dgm:t>
    </dgm:pt>
    <dgm:pt modelId="{8D01EEFB-429F-4716-AE94-79A4554F9F0B}" type="parTrans" cxnId="{BA1DC041-C2AE-4150-99A8-8519A2BA5257}">
      <dgm:prSet/>
      <dgm:spPr/>
      <dgm:t>
        <a:bodyPr/>
        <a:lstStyle/>
        <a:p>
          <a:endParaRPr lang="nb-NO"/>
        </a:p>
      </dgm:t>
    </dgm:pt>
    <dgm:pt modelId="{42964DD2-CF3E-40C7-8604-5800BF0584CC}" type="sibTrans" cxnId="{BA1DC041-C2AE-4150-99A8-8519A2BA5257}">
      <dgm:prSet/>
      <dgm:spPr/>
      <dgm:t>
        <a:bodyPr/>
        <a:lstStyle/>
        <a:p>
          <a:endParaRPr lang="nb-NO"/>
        </a:p>
      </dgm:t>
    </dgm:pt>
    <dgm:pt modelId="{1A8714DE-0C44-4858-9B74-5E8A10CF1A96}" type="pres">
      <dgm:prSet presAssocID="{5667588E-7ACC-4700-BDF9-2A04808EED77}" presName="Name0" presStyleCnt="0">
        <dgm:presLayoutVars>
          <dgm:dir/>
          <dgm:animLvl val="lvl"/>
          <dgm:resizeHandles val="exact"/>
        </dgm:presLayoutVars>
      </dgm:prSet>
      <dgm:spPr/>
    </dgm:pt>
    <dgm:pt modelId="{675DF555-6E14-4CFF-A69B-C9D43877CA7B}" type="pres">
      <dgm:prSet presAssocID="{9792CB41-D662-4B4C-BF8E-C8E682E19713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3A335D0-3C6A-4342-BB06-2FF48137919E}" type="pres">
      <dgm:prSet presAssocID="{82871150-957D-49A5-AFB5-E1108E44366A}" presName="parTxOnlySpace" presStyleCnt="0"/>
      <dgm:spPr/>
    </dgm:pt>
    <dgm:pt modelId="{55C49E40-1745-4E41-9AA8-ED282D1750DD}" type="pres">
      <dgm:prSet presAssocID="{C71BE19B-5B2D-42CB-BAEC-32C0E7ACC873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81D136C-63DE-470D-9968-1DC33073D22B}" type="pres">
      <dgm:prSet presAssocID="{078F8546-73B8-406F-877F-C056DBF385A6}" presName="parTxOnlySpace" presStyleCnt="0"/>
      <dgm:spPr/>
    </dgm:pt>
    <dgm:pt modelId="{E93302E1-1A4A-491E-B5B3-5956EE933065}" type="pres">
      <dgm:prSet presAssocID="{40C9884B-C44D-46C9-B263-864B0F1DE8C5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F01EAF85-4227-4BFB-AACC-8FAD742C9FB8}" type="pres">
      <dgm:prSet presAssocID="{7728D87E-91AE-470E-94D1-F90D3DFE3BB5}" presName="parTxOnlySpace" presStyleCnt="0"/>
      <dgm:spPr/>
    </dgm:pt>
    <dgm:pt modelId="{7816DABF-CC40-4FD2-8C91-4AB2FAB47F36}" type="pres">
      <dgm:prSet presAssocID="{4B54F046-56E9-42FE-81ED-5ADBBFFB43DF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DB73508-65CE-458A-AE2F-2D01642D8DFA}" type="presOf" srcId="{5667588E-7ACC-4700-BDF9-2A04808EED77}" destId="{1A8714DE-0C44-4858-9B74-5E8A10CF1A96}" srcOrd="0" destOrd="0" presId="urn:microsoft.com/office/officeart/2005/8/layout/chevron1"/>
    <dgm:cxn modelId="{21B91435-3B4D-49FD-BD4E-AE5F0B9D8BDE}" type="presOf" srcId="{C71BE19B-5B2D-42CB-BAEC-32C0E7ACC873}" destId="{55C49E40-1745-4E41-9AA8-ED282D1750DD}" srcOrd="0" destOrd="0" presId="urn:microsoft.com/office/officeart/2005/8/layout/chevron1"/>
    <dgm:cxn modelId="{1FEC8239-3A98-4861-97F5-981E83F01D68}" type="presOf" srcId="{4B54F046-56E9-42FE-81ED-5ADBBFFB43DF}" destId="{7816DABF-CC40-4FD2-8C91-4AB2FAB47F36}" srcOrd="0" destOrd="0" presId="urn:microsoft.com/office/officeart/2005/8/layout/chevron1"/>
    <dgm:cxn modelId="{BA1DC041-C2AE-4150-99A8-8519A2BA5257}" srcId="{5667588E-7ACC-4700-BDF9-2A04808EED77}" destId="{4B54F046-56E9-42FE-81ED-5ADBBFFB43DF}" srcOrd="3" destOrd="0" parTransId="{8D01EEFB-429F-4716-AE94-79A4554F9F0B}" sibTransId="{42964DD2-CF3E-40C7-8604-5800BF0584CC}"/>
    <dgm:cxn modelId="{CDD2C461-5D5F-443B-B5E8-C5AC82ECBA8A}" type="presOf" srcId="{40C9884B-C44D-46C9-B263-864B0F1DE8C5}" destId="{E93302E1-1A4A-491E-B5B3-5956EE933065}" srcOrd="0" destOrd="0" presId="urn:microsoft.com/office/officeart/2005/8/layout/chevron1"/>
    <dgm:cxn modelId="{51E38C7E-85D5-44F3-BEA0-4FE7BBBF89FE}" srcId="{5667588E-7ACC-4700-BDF9-2A04808EED77}" destId="{9792CB41-D662-4B4C-BF8E-C8E682E19713}" srcOrd="0" destOrd="0" parTransId="{6E1F7F80-8AC5-453E-ABBD-7DE3696F9A29}" sibTransId="{82871150-957D-49A5-AFB5-E1108E44366A}"/>
    <dgm:cxn modelId="{2FD44FC3-5EF8-4EED-A0AB-E16980BC3A59}" srcId="{5667588E-7ACC-4700-BDF9-2A04808EED77}" destId="{40C9884B-C44D-46C9-B263-864B0F1DE8C5}" srcOrd="2" destOrd="0" parTransId="{CB1DA08E-5711-4B4D-BC26-4529220A6E9C}" sibTransId="{7728D87E-91AE-470E-94D1-F90D3DFE3BB5}"/>
    <dgm:cxn modelId="{B3FC30CE-1F1D-4F4E-8081-123716495665}" type="presOf" srcId="{9792CB41-D662-4B4C-BF8E-C8E682E19713}" destId="{675DF555-6E14-4CFF-A69B-C9D43877CA7B}" srcOrd="0" destOrd="0" presId="urn:microsoft.com/office/officeart/2005/8/layout/chevron1"/>
    <dgm:cxn modelId="{37CCE8F3-C70E-4342-994D-F2A32356000D}" srcId="{5667588E-7ACC-4700-BDF9-2A04808EED77}" destId="{C71BE19B-5B2D-42CB-BAEC-32C0E7ACC873}" srcOrd="1" destOrd="0" parTransId="{7E3BDF23-7EBB-4AC7-92AA-1F3D603A8584}" sibTransId="{078F8546-73B8-406F-877F-C056DBF385A6}"/>
    <dgm:cxn modelId="{F14ED0CB-AC19-4854-AD67-6120D16E1F96}" type="presParOf" srcId="{1A8714DE-0C44-4858-9B74-5E8A10CF1A96}" destId="{675DF555-6E14-4CFF-A69B-C9D43877CA7B}" srcOrd="0" destOrd="0" presId="urn:microsoft.com/office/officeart/2005/8/layout/chevron1"/>
    <dgm:cxn modelId="{AEF8EE75-961D-4761-9C8F-27DB7FBFC5F1}" type="presParOf" srcId="{1A8714DE-0C44-4858-9B74-5E8A10CF1A96}" destId="{73A335D0-3C6A-4342-BB06-2FF48137919E}" srcOrd="1" destOrd="0" presId="urn:microsoft.com/office/officeart/2005/8/layout/chevron1"/>
    <dgm:cxn modelId="{F141354F-3FAD-4A4D-9C45-48A4F5160673}" type="presParOf" srcId="{1A8714DE-0C44-4858-9B74-5E8A10CF1A96}" destId="{55C49E40-1745-4E41-9AA8-ED282D1750DD}" srcOrd="2" destOrd="0" presId="urn:microsoft.com/office/officeart/2005/8/layout/chevron1"/>
    <dgm:cxn modelId="{247E3549-1B57-4412-98C7-5D6822DBA372}" type="presParOf" srcId="{1A8714DE-0C44-4858-9B74-5E8A10CF1A96}" destId="{181D136C-63DE-470D-9968-1DC33073D22B}" srcOrd="3" destOrd="0" presId="urn:microsoft.com/office/officeart/2005/8/layout/chevron1"/>
    <dgm:cxn modelId="{6663E245-CD2C-4E0F-9A59-504F10BEDF60}" type="presParOf" srcId="{1A8714DE-0C44-4858-9B74-5E8A10CF1A96}" destId="{E93302E1-1A4A-491E-B5B3-5956EE933065}" srcOrd="4" destOrd="0" presId="urn:microsoft.com/office/officeart/2005/8/layout/chevron1"/>
    <dgm:cxn modelId="{07567EE6-8D1C-4442-B9E3-086F12B4C404}" type="presParOf" srcId="{1A8714DE-0C44-4858-9B74-5E8A10CF1A96}" destId="{F01EAF85-4227-4BFB-AACC-8FAD742C9FB8}" srcOrd="5" destOrd="0" presId="urn:microsoft.com/office/officeart/2005/8/layout/chevron1"/>
    <dgm:cxn modelId="{B14A8DE5-0B66-4916-BE8B-3743F6D28ABE}" type="presParOf" srcId="{1A8714DE-0C44-4858-9B74-5E8A10CF1A96}" destId="{7816DABF-CC40-4FD2-8C91-4AB2FAB47F36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5DF555-6E14-4CFF-A69B-C9D43877CA7B}">
      <dsp:nvSpPr>
        <dsp:cNvPr id="0" name=""/>
        <dsp:cNvSpPr/>
      </dsp:nvSpPr>
      <dsp:spPr>
        <a:xfrm>
          <a:off x="3770" y="1456585"/>
          <a:ext cx="2194718" cy="877887"/>
        </a:xfrm>
        <a:prstGeom prst="chevron">
          <a:avLst/>
        </a:prstGeom>
        <a:solidFill>
          <a:srgbClr val="669D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rgbClr val="0D3B73"/>
              </a:solidFill>
              <a:latin typeface="Source Sans Pro" panose="020B0503030403020204" pitchFamily="34" charset="0"/>
              <a:ea typeface="Source Sans Pro" panose="020B0503030403020204" pitchFamily="34" charset="0"/>
            </a:rPr>
            <a:t>Forankre og planlegge</a:t>
          </a:r>
        </a:p>
      </dsp:txBody>
      <dsp:txXfrm>
        <a:off x="442714" y="1456585"/>
        <a:ext cx="1316831" cy="877887"/>
      </dsp:txXfrm>
    </dsp:sp>
    <dsp:sp modelId="{55C49E40-1745-4E41-9AA8-ED282D1750DD}">
      <dsp:nvSpPr>
        <dsp:cNvPr id="0" name=""/>
        <dsp:cNvSpPr/>
      </dsp:nvSpPr>
      <dsp:spPr>
        <a:xfrm>
          <a:off x="1979017" y="1456585"/>
          <a:ext cx="2194718" cy="877887"/>
        </a:xfrm>
        <a:prstGeom prst="chevr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latin typeface="Source Sans Pro" panose="020B0503030403020204" pitchFamily="34" charset="0"/>
              <a:ea typeface="Source Sans Pro" panose="020B0503030403020204" pitchFamily="34" charset="0"/>
            </a:rPr>
            <a:t>Kartlegge nåsituasjon</a:t>
          </a:r>
        </a:p>
      </dsp:txBody>
      <dsp:txXfrm>
        <a:off x="2417961" y="1456585"/>
        <a:ext cx="1316831" cy="877887"/>
      </dsp:txXfrm>
    </dsp:sp>
    <dsp:sp modelId="{E93302E1-1A4A-491E-B5B3-5956EE933065}">
      <dsp:nvSpPr>
        <dsp:cNvPr id="0" name=""/>
        <dsp:cNvSpPr/>
      </dsp:nvSpPr>
      <dsp:spPr>
        <a:xfrm>
          <a:off x="3954264" y="1456585"/>
          <a:ext cx="2194718" cy="877887"/>
        </a:xfrm>
        <a:prstGeom prst="chevr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latin typeface="Source Sans Pro" panose="020B0503030403020204" pitchFamily="34" charset="0"/>
              <a:ea typeface="Source Sans Pro" panose="020B0503030403020204" pitchFamily="34" charset="0"/>
            </a:rPr>
            <a:t>Utforme strategi</a:t>
          </a:r>
        </a:p>
      </dsp:txBody>
      <dsp:txXfrm>
        <a:off x="4393208" y="1456585"/>
        <a:ext cx="1316831" cy="877887"/>
      </dsp:txXfrm>
    </dsp:sp>
    <dsp:sp modelId="{7816DABF-CC40-4FD2-8C91-4AB2FAB47F36}">
      <dsp:nvSpPr>
        <dsp:cNvPr id="0" name=""/>
        <dsp:cNvSpPr/>
      </dsp:nvSpPr>
      <dsp:spPr>
        <a:xfrm>
          <a:off x="5929510" y="1456585"/>
          <a:ext cx="2194718" cy="877887"/>
        </a:xfrm>
        <a:prstGeom prst="chevr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latin typeface="Source Sans Pro" panose="020B0503030403020204" pitchFamily="34" charset="0"/>
              <a:ea typeface="Source Sans Pro" panose="020B0503030403020204" pitchFamily="34" charset="0"/>
            </a:rPr>
            <a:t>Implementere og følge opp</a:t>
          </a:r>
        </a:p>
      </dsp:txBody>
      <dsp:txXfrm>
        <a:off x="6368454" y="1456585"/>
        <a:ext cx="1316831" cy="8778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9938" cy="48937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025EFD9F-6EAC-4E80-B43D-592B6EB52F05}" type="datetimeFigureOut">
              <a:rPr lang="nb-NO" smtClean="0"/>
              <a:t>26.10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19200"/>
            <a:ext cx="5853112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91429" tIns="45714" rIns="91429" bIns="45714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64228"/>
            <a:ext cx="2889938" cy="489373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FD3142CB-7310-43A3-ABC1-8F4B86FC935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27786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3142CB-7310-43A3-ABC1-8F4B86FC935F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8938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4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svg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sv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sv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sv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DA3A417-948B-C949-BA96-989B920783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54706645-2291-C945-9646-D500C040A7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891" y="1717675"/>
            <a:ext cx="11122025" cy="179228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5000" cap="all" baseline="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A76A37AB-1C33-4E44-84DF-1B0CF9440A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4166148"/>
            <a:ext cx="11122025" cy="1192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417F7C5C-CD7B-D847-992A-28F61035730A}"/>
              </a:ext>
            </a:extLst>
          </p:cNvPr>
          <p:cNvCxnSpPr/>
          <p:nvPr userDrawn="1"/>
        </p:nvCxnSpPr>
        <p:spPr>
          <a:xfrm>
            <a:off x="4295775" y="3787914"/>
            <a:ext cx="3600450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k 9">
            <a:extLst>
              <a:ext uri="{FF2B5EF4-FFF2-40B4-BE49-F238E27FC236}">
                <a16:creationId xmlns:a16="http://schemas.microsoft.com/office/drawing/2014/main" id="{4D1C685A-36C8-CB41-A23E-6F684397C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9603" y="5949950"/>
            <a:ext cx="2884815" cy="69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4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fsid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9032A32-43BA-2944-9F87-5FAD86931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2808" y="1458632"/>
            <a:ext cx="2032000" cy="3810000"/>
          </a:xfrm>
          <a:prstGeom prst="rect">
            <a:avLst/>
          </a:prstGeom>
        </p:spPr>
      </p:pic>
      <p:sp>
        <p:nvSpPr>
          <p:cNvPr id="24" name="Plassholder for tittel 1">
            <a:extLst>
              <a:ext uri="{FF2B5EF4-FFF2-40B4-BE49-F238E27FC236}">
                <a16:creationId xmlns:a16="http://schemas.microsoft.com/office/drawing/2014/main" id="{78F68C35-50F0-4F4B-93AB-B92EC7257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7" y="441325"/>
            <a:ext cx="6964362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15403AB-D38D-2D40-859C-D1A1339E61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5"/>
            <a:ext cx="6964362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4C396ACB-D58C-9448-A6D5-35550FDA0D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7" name="Plassholder for bunntekst 4">
            <a:extLst>
              <a:ext uri="{FF2B5EF4-FFF2-40B4-BE49-F238E27FC236}">
                <a16:creationId xmlns:a16="http://schemas.microsoft.com/office/drawing/2014/main" id="{CCA88CAF-9C1D-B042-97EC-E3BF4004C5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8" name="Plassholder for lysbildenummer 5">
            <a:extLst>
              <a:ext uri="{FF2B5EF4-FFF2-40B4-BE49-F238E27FC236}">
                <a16:creationId xmlns:a16="http://schemas.microsoft.com/office/drawing/2014/main" id="{8383E26C-831F-9B49-A190-29C2D7134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9EDE06E8-D1DC-1647-B8E6-8D4239E0E2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6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53DAF888-1B6E-4DBC-BF0A-3C494541DC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157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62BA8A5-3146-415E-AE15-7DB28B4408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682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0004E9F1-B900-420C-8235-422B9E42EF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080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DB32BACC-57B2-461A-B8FC-ADE80343BC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831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CFF39C27-CE4B-4CE2-B6F4-75ECE47AB3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82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6B91BA4A-1CFD-4926-B729-794A6E1335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354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8D3EB75-2D50-455A-B761-0DD2573AB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3724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6E5751D-6E83-4D37-9592-F6FEC43524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094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D1FDE68-DCE8-4552-91E8-5AA25A19D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55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9889F-4FD6-FF47-9C0D-8696C4F10B88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182665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DC49616E-436E-5242-901E-9DF41FB7FB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1FB4ACCB-1FD3-684B-8D1C-EA5BAB6F8A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2ED0D117-0FEA-254B-AB69-27AE45B34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6361A72-19F1-2348-ABF9-47D0CA94CD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062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A44AC-9971-CE4D-A74E-A52F9A049E0D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" name="Plassholder for bilde 7">
            <a:extLst>
              <a:ext uri="{FF2B5EF4-FFF2-40B4-BE49-F238E27FC236}">
                <a16:creationId xmlns:a16="http://schemas.microsoft.com/office/drawing/2014/main" id="{53BC9DDF-E16E-2340-8B9C-18EDE0B08D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67971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2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24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12719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282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00564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62336E37-D479-3B41-9185-4DF7AFDC8F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0846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96923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4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399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399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399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7" name="Plassholder for bilde 5">
            <a:extLst>
              <a:ext uri="{FF2B5EF4-FFF2-40B4-BE49-F238E27FC236}">
                <a16:creationId xmlns:a16="http://schemas.microsoft.com/office/drawing/2014/main" id="{59271FB1-264F-D44B-9172-C2EFFE89DD3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371468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8" name="Plassholder for tekst 29">
            <a:extLst>
              <a:ext uri="{FF2B5EF4-FFF2-40B4-BE49-F238E27FC236}">
                <a16:creationId xmlns:a16="http://schemas.microsoft.com/office/drawing/2014/main" id="{B5BF182E-7E5B-574A-89A7-BDBC9F9D6FB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71467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lassholder for tekst 29">
            <a:extLst>
              <a:ext uri="{FF2B5EF4-FFF2-40B4-BE49-F238E27FC236}">
                <a16:creationId xmlns:a16="http://schemas.microsoft.com/office/drawing/2014/main" id="{9B5C325E-BF08-274F-BB44-A63181BB33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467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4" name="Plassholder for tekst 29">
            <a:extLst>
              <a:ext uri="{FF2B5EF4-FFF2-40B4-BE49-F238E27FC236}">
                <a16:creationId xmlns:a16="http://schemas.microsoft.com/office/drawing/2014/main" id="{4FD8B1C3-1D73-7847-A87E-7754165822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467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9" name="Plassholder for bilde 5">
            <a:extLst>
              <a:ext uri="{FF2B5EF4-FFF2-40B4-BE49-F238E27FC236}">
                <a16:creationId xmlns:a16="http://schemas.microsoft.com/office/drawing/2014/main" id="{AB8F2C20-F305-9F4E-9521-4170F4EA444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09536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0" name="Plassholder for tekst 29">
            <a:extLst>
              <a:ext uri="{FF2B5EF4-FFF2-40B4-BE49-F238E27FC236}">
                <a16:creationId xmlns:a16="http://schemas.microsoft.com/office/drawing/2014/main" id="{FDD45BB0-FF53-F54F-A166-DC2274D25A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09534" y="4584480"/>
            <a:ext cx="2590361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5" name="Plassholder for tekst 29">
            <a:extLst>
              <a:ext uri="{FF2B5EF4-FFF2-40B4-BE49-F238E27FC236}">
                <a16:creationId xmlns:a16="http://schemas.microsoft.com/office/drawing/2014/main" id="{D68344EF-1ECE-124A-A5FF-0594577B00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9534" y="4584480"/>
            <a:ext cx="2590361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6" name="Plassholder for tekst 29">
            <a:extLst>
              <a:ext uri="{FF2B5EF4-FFF2-40B4-BE49-F238E27FC236}">
                <a16:creationId xmlns:a16="http://schemas.microsoft.com/office/drawing/2014/main" id="{228FCD1A-4C65-1F42-BEF5-20303008A8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9534" y="4954817"/>
            <a:ext cx="2590361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1" name="Plassholder for bilde 5">
            <a:extLst>
              <a:ext uri="{FF2B5EF4-FFF2-40B4-BE49-F238E27FC236}">
                <a16:creationId xmlns:a16="http://schemas.microsoft.com/office/drawing/2014/main" id="{38E67570-BD86-BE47-A7A6-3F97EE83918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047603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2" name="Plassholder for tekst 29">
            <a:extLst>
              <a:ext uri="{FF2B5EF4-FFF2-40B4-BE49-F238E27FC236}">
                <a16:creationId xmlns:a16="http://schemas.microsoft.com/office/drawing/2014/main" id="{5B835929-7B37-BE4A-B019-F68E678F75A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47602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7" name="Plassholder for tekst 29">
            <a:extLst>
              <a:ext uri="{FF2B5EF4-FFF2-40B4-BE49-F238E27FC236}">
                <a16:creationId xmlns:a16="http://schemas.microsoft.com/office/drawing/2014/main" id="{1F32A157-741D-C74E-961F-DBC5FE42987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47602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8" name="Plassholder for tekst 29">
            <a:extLst>
              <a:ext uri="{FF2B5EF4-FFF2-40B4-BE49-F238E27FC236}">
                <a16:creationId xmlns:a16="http://schemas.microsoft.com/office/drawing/2014/main" id="{EC08704F-EBB2-2D45-9B11-2390F952A9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47602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22" name="Plassholder for dato 3">
            <a:extLst>
              <a:ext uri="{FF2B5EF4-FFF2-40B4-BE49-F238E27FC236}">
                <a16:creationId xmlns:a16="http://schemas.microsoft.com/office/drawing/2014/main" id="{6148CBC5-69D6-DD4C-8E83-BBA57F6226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23" name="Plassholder for bunntekst 4">
            <a:extLst>
              <a:ext uri="{FF2B5EF4-FFF2-40B4-BE49-F238E27FC236}">
                <a16:creationId xmlns:a16="http://schemas.microsoft.com/office/drawing/2014/main" id="{F47CF354-EBEE-3143-A63C-33B8EC99E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4" name="Plassholder for lysbildenummer 5">
            <a:extLst>
              <a:ext uri="{FF2B5EF4-FFF2-40B4-BE49-F238E27FC236}">
                <a16:creationId xmlns:a16="http://schemas.microsoft.com/office/drawing/2014/main" id="{0C46C896-3D45-4346-A58D-57F15205A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2386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12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400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400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25872"/>
            <a:ext cx="1639888" cy="170638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39" name="Plassholder for bilde 5">
            <a:extLst>
              <a:ext uri="{FF2B5EF4-FFF2-40B4-BE49-F238E27FC236}">
                <a16:creationId xmlns:a16="http://schemas.microsoft.com/office/drawing/2014/main" id="{C1527520-8AF8-4A4D-B56C-7257F0CA534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42633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0" name="Plassholder for tekst 29">
            <a:extLst>
              <a:ext uri="{FF2B5EF4-FFF2-40B4-BE49-F238E27FC236}">
                <a16:creationId xmlns:a16="http://schemas.microsoft.com/office/drawing/2014/main" id="{1B88A589-A5B5-754E-AF4F-3F7298B363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26334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Plassholder for tekst 29">
            <a:extLst>
              <a:ext uri="{FF2B5EF4-FFF2-40B4-BE49-F238E27FC236}">
                <a16:creationId xmlns:a16="http://schemas.microsoft.com/office/drawing/2014/main" id="{6A52437B-7CAC-CE4D-885C-B024153FB2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26334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2" name="Plassholder for tekst 29">
            <a:extLst>
              <a:ext uri="{FF2B5EF4-FFF2-40B4-BE49-F238E27FC236}">
                <a16:creationId xmlns:a16="http://schemas.microsoft.com/office/drawing/2014/main" id="{006CAC39-5C96-C244-BA46-065E019385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26334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45" name="Plassholder for bilde 5">
            <a:extLst>
              <a:ext uri="{FF2B5EF4-FFF2-40B4-BE49-F238E27FC236}">
                <a16:creationId xmlns:a16="http://schemas.microsoft.com/office/drawing/2014/main" id="{E555D74C-6955-7F47-ADAA-C6ED83DB00D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1927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6" name="Plassholder for tekst 29">
            <a:extLst>
              <a:ext uri="{FF2B5EF4-FFF2-40B4-BE49-F238E27FC236}">
                <a16:creationId xmlns:a16="http://schemas.microsoft.com/office/drawing/2014/main" id="{F82E7DD7-B26C-BA40-8E18-61B26814726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19267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lassholder for tekst 29">
            <a:extLst>
              <a:ext uri="{FF2B5EF4-FFF2-40B4-BE49-F238E27FC236}">
                <a16:creationId xmlns:a16="http://schemas.microsoft.com/office/drawing/2014/main" id="{C7F737FD-235C-1849-83D4-06BDC9828C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19267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8" name="Plassholder for tekst 29">
            <a:extLst>
              <a:ext uri="{FF2B5EF4-FFF2-40B4-BE49-F238E27FC236}">
                <a16:creationId xmlns:a16="http://schemas.microsoft.com/office/drawing/2014/main" id="{F392D149-80E1-7540-AFFF-0303A3F0E6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9267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1" name="Plassholder for bilde 5">
            <a:extLst>
              <a:ext uri="{FF2B5EF4-FFF2-40B4-BE49-F238E27FC236}">
                <a16:creationId xmlns:a16="http://schemas.microsoft.com/office/drawing/2014/main" id="{E149B48A-456A-2845-8EDE-CA6015EAA8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1220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2" name="Plassholder for tekst 29">
            <a:extLst>
              <a:ext uri="{FF2B5EF4-FFF2-40B4-BE49-F238E27FC236}">
                <a16:creationId xmlns:a16="http://schemas.microsoft.com/office/drawing/2014/main" id="{8BBDE235-D234-884D-A9B3-DEEE4FDA07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12199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lassholder for tekst 29">
            <a:extLst>
              <a:ext uri="{FF2B5EF4-FFF2-40B4-BE49-F238E27FC236}">
                <a16:creationId xmlns:a16="http://schemas.microsoft.com/office/drawing/2014/main" id="{3C86E898-6675-9A4B-9B2B-AC37B638F36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2199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54" name="Plassholder for tekst 29">
            <a:extLst>
              <a:ext uri="{FF2B5EF4-FFF2-40B4-BE49-F238E27FC236}">
                <a16:creationId xmlns:a16="http://schemas.microsoft.com/office/drawing/2014/main" id="{2E8CCFD1-66A7-E149-B045-934DE5A116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2199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7" name="Plassholder for bilde 5">
            <a:extLst>
              <a:ext uri="{FF2B5EF4-FFF2-40B4-BE49-F238E27FC236}">
                <a16:creationId xmlns:a16="http://schemas.microsoft.com/office/drawing/2014/main" id="{32FD0D63-CBF3-0247-826A-53F7B8457AE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0514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8" name="Plassholder for tekst 29">
            <a:extLst>
              <a:ext uri="{FF2B5EF4-FFF2-40B4-BE49-F238E27FC236}">
                <a16:creationId xmlns:a16="http://schemas.microsoft.com/office/drawing/2014/main" id="{8244C0D0-B447-364F-AD7E-829EA1AB2C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105128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lassholder for tekst 29">
            <a:extLst>
              <a:ext uri="{FF2B5EF4-FFF2-40B4-BE49-F238E27FC236}">
                <a16:creationId xmlns:a16="http://schemas.microsoft.com/office/drawing/2014/main" id="{6D63F879-14EF-9A48-9712-21BBBB54781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05128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0" name="Plassholder for tekst 29">
            <a:extLst>
              <a:ext uri="{FF2B5EF4-FFF2-40B4-BE49-F238E27FC236}">
                <a16:creationId xmlns:a16="http://schemas.microsoft.com/office/drawing/2014/main" id="{88F82980-3B21-D34A-AF1F-75CB65A974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05128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3" name="Plassholder for bilde 5">
            <a:extLst>
              <a:ext uri="{FF2B5EF4-FFF2-40B4-BE49-F238E27FC236}">
                <a16:creationId xmlns:a16="http://schemas.microsoft.com/office/drawing/2014/main" id="{A8F5D8CD-9CC3-304F-AC71-F7D7C7D9A56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998076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4" name="Plassholder for tekst 29">
            <a:extLst>
              <a:ext uri="{FF2B5EF4-FFF2-40B4-BE49-F238E27FC236}">
                <a16:creationId xmlns:a16="http://schemas.microsoft.com/office/drawing/2014/main" id="{C6D3F3AC-E770-A845-8FBB-EF4E76A0BA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98076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lassholder for tekst 29">
            <a:extLst>
              <a:ext uri="{FF2B5EF4-FFF2-40B4-BE49-F238E27FC236}">
                <a16:creationId xmlns:a16="http://schemas.microsoft.com/office/drawing/2014/main" id="{8DC60941-BE57-CB42-8EC1-4E93C9082B3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98076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6" name="Plassholder for tekst 29">
            <a:extLst>
              <a:ext uri="{FF2B5EF4-FFF2-40B4-BE49-F238E27FC236}">
                <a16:creationId xmlns:a16="http://schemas.microsoft.com/office/drawing/2014/main" id="{580077CD-82F7-0F43-B1AE-AB9A2B9A0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98076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9" name="Plassholder for bilde 5">
            <a:extLst>
              <a:ext uri="{FF2B5EF4-FFF2-40B4-BE49-F238E27FC236}">
                <a16:creationId xmlns:a16="http://schemas.microsoft.com/office/drawing/2014/main" id="{BEC60C22-6789-C149-8F53-BD9A22992E4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3340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0" name="Plassholder for tekst 29">
            <a:extLst>
              <a:ext uri="{FF2B5EF4-FFF2-40B4-BE49-F238E27FC236}">
                <a16:creationId xmlns:a16="http://schemas.microsoft.com/office/drawing/2014/main" id="{777A5458-44E0-854C-9450-DE7D278309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3400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lassholder for tekst 29">
            <a:extLst>
              <a:ext uri="{FF2B5EF4-FFF2-40B4-BE49-F238E27FC236}">
                <a16:creationId xmlns:a16="http://schemas.microsoft.com/office/drawing/2014/main" id="{D87F24F9-02BB-3B40-AC63-DDEA55E5056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33400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2" name="Plassholder for tekst 29">
            <a:extLst>
              <a:ext uri="{FF2B5EF4-FFF2-40B4-BE49-F238E27FC236}">
                <a16:creationId xmlns:a16="http://schemas.microsoft.com/office/drawing/2014/main" id="{E3891B74-C144-F647-9F6A-88B4FB4629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33400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5" name="Plassholder for bilde 5">
            <a:extLst>
              <a:ext uri="{FF2B5EF4-FFF2-40B4-BE49-F238E27FC236}">
                <a16:creationId xmlns:a16="http://schemas.microsoft.com/office/drawing/2014/main" id="{41F2453F-1837-E04D-912E-245AB200BB7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42633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6" name="Plassholder for tekst 29">
            <a:extLst>
              <a:ext uri="{FF2B5EF4-FFF2-40B4-BE49-F238E27FC236}">
                <a16:creationId xmlns:a16="http://schemas.microsoft.com/office/drawing/2014/main" id="{EBA33246-23BD-5B45-AA53-A913495F948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426334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7" name="Plassholder for tekst 29">
            <a:extLst>
              <a:ext uri="{FF2B5EF4-FFF2-40B4-BE49-F238E27FC236}">
                <a16:creationId xmlns:a16="http://schemas.microsoft.com/office/drawing/2014/main" id="{D3F7A8C3-9DC7-E848-83EF-F0E36DDE85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26334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8" name="Plassholder for tekst 29">
            <a:extLst>
              <a:ext uri="{FF2B5EF4-FFF2-40B4-BE49-F238E27FC236}">
                <a16:creationId xmlns:a16="http://schemas.microsoft.com/office/drawing/2014/main" id="{781FF7A4-D72C-BF49-8535-3E85AD50A3D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426334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1" name="Plassholder for bilde 5">
            <a:extLst>
              <a:ext uri="{FF2B5EF4-FFF2-40B4-BE49-F238E27FC236}">
                <a16:creationId xmlns:a16="http://schemas.microsoft.com/office/drawing/2014/main" id="{BA86B9DD-66C5-174C-92BB-C725E47C7D37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1927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2" name="Plassholder for tekst 29">
            <a:extLst>
              <a:ext uri="{FF2B5EF4-FFF2-40B4-BE49-F238E27FC236}">
                <a16:creationId xmlns:a16="http://schemas.microsoft.com/office/drawing/2014/main" id="{A10DC0C7-3D88-C44D-B6E4-12D5F68D78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319267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3" name="Plassholder for tekst 29">
            <a:extLst>
              <a:ext uri="{FF2B5EF4-FFF2-40B4-BE49-F238E27FC236}">
                <a16:creationId xmlns:a16="http://schemas.microsoft.com/office/drawing/2014/main" id="{43E78351-A9BA-8B48-9BD5-F064F389B74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19267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4" name="Plassholder for tekst 29">
            <a:extLst>
              <a:ext uri="{FF2B5EF4-FFF2-40B4-BE49-F238E27FC236}">
                <a16:creationId xmlns:a16="http://schemas.microsoft.com/office/drawing/2014/main" id="{56956FD0-54E3-6143-93FE-7B03ECD745A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19267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7" name="Plassholder for bilde 5">
            <a:extLst>
              <a:ext uri="{FF2B5EF4-FFF2-40B4-BE49-F238E27FC236}">
                <a16:creationId xmlns:a16="http://schemas.microsoft.com/office/drawing/2014/main" id="{B18DDB92-B9CB-BE4D-ABA7-E97DDD2D026C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621220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8" name="Plassholder for tekst 29">
            <a:extLst>
              <a:ext uri="{FF2B5EF4-FFF2-40B4-BE49-F238E27FC236}">
                <a16:creationId xmlns:a16="http://schemas.microsoft.com/office/drawing/2014/main" id="{CC23D3A1-C464-9D41-91E5-CB109A040C0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212199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9" name="Plassholder for tekst 29">
            <a:extLst>
              <a:ext uri="{FF2B5EF4-FFF2-40B4-BE49-F238E27FC236}">
                <a16:creationId xmlns:a16="http://schemas.microsoft.com/office/drawing/2014/main" id="{932B09A9-BDE2-9949-9E26-011E5C8DE61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12199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0" name="Plassholder for tekst 29">
            <a:extLst>
              <a:ext uri="{FF2B5EF4-FFF2-40B4-BE49-F238E27FC236}">
                <a16:creationId xmlns:a16="http://schemas.microsoft.com/office/drawing/2014/main" id="{C2747A3A-C218-9B47-8D8C-15DBCD84A99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2199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3" name="Plassholder for bilde 5">
            <a:extLst>
              <a:ext uri="{FF2B5EF4-FFF2-40B4-BE49-F238E27FC236}">
                <a16:creationId xmlns:a16="http://schemas.microsoft.com/office/drawing/2014/main" id="{C603C6DA-265E-0846-A123-77ABF62757E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810514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4" name="Plassholder for tekst 29">
            <a:extLst>
              <a:ext uri="{FF2B5EF4-FFF2-40B4-BE49-F238E27FC236}">
                <a16:creationId xmlns:a16="http://schemas.microsoft.com/office/drawing/2014/main" id="{44B979E2-48FD-AC4E-B66C-79206AE6230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105128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5" name="Plassholder for tekst 29">
            <a:extLst>
              <a:ext uri="{FF2B5EF4-FFF2-40B4-BE49-F238E27FC236}">
                <a16:creationId xmlns:a16="http://schemas.microsoft.com/office/drawing/2014/main" id="{BD82B775-BF04-E543-9333-4D140E5E162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05128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6" name="Plassholder for tekst 29">
            <a:extLst>
              <a:ext uri="{FF2B5EF4-FFF2-40B4-BE49-F238E27FC236}">
                <a16:creationId xmlns:a16="http://schemas.microsoft.com/office/drawing/2014/main" id="{443F3A2F-DE0F-2849-8F3E-69A4E42D56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05128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9" name="Plassholder for bilde 5">
            <a:extLst>
              <a:ext uri="{FF2B5EF4-FFF2-40B4-BE49-F238E27FC236}">
                <a16:creationId xmlns:a16="http://schemas.microsoft.com/office/drawing/2014/main" id="{1204D9F2-9AF9-E540-92B8-08BA17E4C00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998076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00" name="Plassholder for tekst 29">
            <a:extLst>
              <a:ext uri="{FF2B5EF4-FFF2-40B4-BE49-F238E27FC236}">
                <a16:creationId xmlns:a16="http://schemas.microsoft.com/office/drawing/2014/main" id="{883C2FD0-0EB1-CB4F-84F8-522689EBE2B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9998076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1" name="Plassholder for tekst 29">
            <a:extLst>
              <a:ext uri="{FF2B5EF4-FFF2-40B4-BE49-F238E27FC236}">
                <a16:creationId xmlns:a16="http://schemas.microsoft.com/office/drawing/2014/main" id="{FC75D5FC-AFA3-0345-8A3B-7B02E531F0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998076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102" name="Plassholder for tekst 29">
            <a:extLst>
              <a:ext uri="{FF2B5EF4-FFF2-40B4-BE49-F238E27FC236}">
                <a16:creationId xmlns:a16="http://schemas.microsoft.com/office/drawing/2014/main" id="{C91E21A9-51C1-CC48-858B-3B75041DF36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98076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5" name="Plassholder for dato 3">
            <a:extLst>
              <a:ext uri="{FF2B5EF4-FFF2-40B4-BE49-F238E27FC236}">
                <a16:creationId xmlns:a16="http://schemas.microsoft.com/office/drawing/2014/main" id="{FF401711-5771-E348-B884-4494C15535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56" name="Plassholder for bunntekst 4">
            <a:extLst>
              <a:ext uri="{FF2B5EF4-FFF2-40B4-BE49-F238E27FC236}">
                <a16:creationId xmlns:a16="http://schemas.microsoft.com/office/drawing/2014/main" id="{B4D6C75C-1A1B-A34D-A089-D65B6B6192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61" name="Plassholder for lysbildenummer 5">
            <a:extLst>
              <a:ext uri="{FF2B5EF4-FFF2-40B4-BE49-F238E27FC236}">
                <a16:creationId xmlns:a16="http://schemas.microsoft.com/office/drawing/2014/main" id="{62072BB7-75F3-4C45-A4FC-90BE55839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564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5400" b="1">
                <a:solidFill>
                  <a:srgbClr val="0085C0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6762BAF8-3152-9949-A56A-A5A1EE864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bunntekst 4">
            <a:extLst>
              <a:ext uri="{FF2B5EF4-FFF2-40B4-BE49-F238E27FC236}">
                <a16:creationId xmlns:a16="http://schemas.microsoft.com/office/drawing/2014/main" id="{2F5D33DF-151F-8C44-BE69-22D4DBDB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1511340-35CB-2D49-A578-472198643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678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6751417D-366D-B143-B31C-C73D41ED7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DE9C3F96-76FA-0F47-AD15-ECE16BD696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DF0D807-F9C3-DF43-9BB0-34DE90CD4A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2B334FB-FF4A-5E4F-8B82-4F7AA6118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5243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EBB92826-BA27-4C49-B3E0-BE6A934E05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3673888A-BCCE-1D4E-AFF7-B5653A81B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61F5AA2-5D29-3345-A3DD-65737A9056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3EBECE2-BEAB-1141-9F28-663B0C0919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771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76E25B0E-2728-384B-8A49-85C1E119C5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A38E396D-E5A4-4749-BB0E-2CD8C6E53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0959ECA-CEEA-514E-9333-D54056F6D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C30A7E8-E3FA-5345-9EC5-FC002C5EA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556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639BB181-5361-0549-95AA-E8D5F2ECE1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57D11602-5F7A-484B-B659-33C6039CC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524E66A8-337A-3442-B197-501BCA5548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3537D87F-9CDB-3743-9790-3ADBED139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5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5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8CBDB767-2F98-F741-8B4B-6270682816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3541152E-E6AF-484B-9556-D1162F1F8A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8DB621D-792D-DE45-B3DC-4E12A00F23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80960108-5B6F-8546-9846-503004921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413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E79DD916-2AFD-0042-A062-3DF84E6EAA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DF7D2294-8285-EB4C-8FC9-10E306C333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E467120E-4C46-C84E-B9CC-7D85C232D6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FEA34F2D-7D05-4B4E-B4C7-515183E925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87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 lyseblå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A0BC74E1-5CDF-5142-A7EF-A67FC8EA8B85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4" y="1717675"/>
            <a:ext cx="6964363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4" y="2476894"/>
            <a:ext cx="6964363" cy="347305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424C2C66-B4EF-CA45-9EB9-E4586F52A88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12045" y="1717675"/>
            <a:ext cx="3317408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774B19EF-5681-0545-BB92-34D2FCE4346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2046" y="2476894"/>
            <a:ext cx="3317408" cy="3473056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ittel 1">
            <a:extLst>
              <a:ext uri="{FF2B5EF4-FFF2-40B4-BE49-F238E27FC236}">
                <a16:creationId xmlns:a16="http://schemas.microsoft.com/office/drawing/2014/main" id="{F849F286-9522-0646-9DE3-D32E129FB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CA468E9D-E235-064F-A185-148548D280F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8" name="Plassholder for bunntekst 4">
            <a:extLst>
              <a:ext uri="{FF2B5EF4-FFF2-40B4-BE49-F238E27FC236}">
                <a16:creationId xmlns:a16="http://schemas.microsoft.com/office/drawing/2014/main" id="{FDB1A09E-D868-104A-96D0-CF2DEB27E0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0" name="Plassholder for lysbildenummer 5">
            <a:extLst>
              <a:ext uri="{FF2B5EF4-FFF2-40B4-BE49-F238E27FC236}">
                <a16:creationId xmlns:a16="http://schemas.microsoft.com/office/drawing/2014/main" id="{A6E38C66-DB73-4E4F-A7B8-74AF750877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B496756-72A7-9845-9F89-587C35D446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7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891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287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73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12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med teks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0"/>
          </p:nvPr>
        </p:nvSpPr>
        <p:spPr>
          <a:xfrm>
            <a:off x="533400" y="4320540"/>
            <a:ext cx="11098213" cy="1620203"/>
          </a:xfrm>
          <a:noFill/>
        </p:spPr>
        <p:txBody>
          <a:bodyPr/>
          <a:lstStyle>
            <a:lvl1pPr marL="0" indent="0" algn="ctr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A977DA6F-4A81-6A4E-A8C5-893DEFD2F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8722" y="1723328"/>
            <a:ext cx="4142206" cy="991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2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- logo at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10" y="441326"/>
            <a:ext cx="821601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Plassholder for dato 3">
            <a:extLst>
              <a:ext uri="{FF2B5EF4-FFF2-40B4-BE49-F238E27FC236}">
                <a16:creationId xmlns:a16="http://schemas.microsoft.com/office/drawing/2014/main" id="{2657246D-430A-1B4E-8CC1-F7E7392EF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6E19EB0A-5E3E-844B-BAEA-099392BC0C73}" type="datetime1">
              <a:rPr lang="nb-NO" noProof="0" smtClean="0"/>
              <a:t>26.10.2023</a:t>
            </a:fld>
            <a:endParaRPr lang="en-GB" noProof="0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F16CF5FB-58D8-D64A-9EDD-82B040CC7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3B2033CF-305A-5040-8FFD-7C9C7DD522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5485483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en-GB" noProof="0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B0CD947C-3F47-6547-9225-A73AEBC80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90628" y="473763"/>
            <a:ext cx="3203931" cy="347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27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F35EB9DB-4C26-244E-BC21-AD5BFB8E7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AFBB2C24-11DE-B54A-9B32-DDDC86BEAC4B}" type="datetime1">
              <a:rPr lang="nb-NO" noProof="0" smtClean="0"/>
              <a:t>26.10.2023</a:t>
            </a:fld>
            <a:endParaRPr lang="en-GB" noProof="0"/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D4B718F1-22E5-F647-A514-CCD78A8EF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FEFBA7D3-A2C0-794A-B44E-FD0C1C2AF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5485483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7442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DA3A417-948B-C949-BA96-989B920783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54706645-2291-C945-9646-D500C040A7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891" y="1717675"/>
            <a:ext cx="11122025" cy="179228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5000" cap="all" baseline="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A76A37AB-1C33-4E44-84DF-1B0CF9440A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4166148"/>
            <a:ext cx="11122025" cy="1192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417F7C5C-CD7B-D847-992A-28F61035730A}"/>
              </a:ext>
            </a:extLst>
          </p:cNvPr>
          <p:cNvCxnSpPr/>
          <p:nvPr userDrawn="1"/>
        </p:nvCxnSpPr>
        <p:spPr>
          <a:xfrm>
            <a:off x="4295775" y="3787914"/>
            <a:ext cx="3600450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k 9">
            <a:extLst>
              <a:ext uri="{FF2B5EF4-FFF2-40B4-BE49-F238E27FC236}">
                <a16:creationId xmlns:a16="http://schemas.microsoft.com/office/drawing/2014/main" id="{4D1C685A-36C8-CB41-A23E-6F684397C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9603" y="5949950"/>
            <a:ext cx="2884815" cy="69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02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B3C8451E-8686-2548-A7BF-B0A2D8060C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BB8898EE-10A5-E24D-9D82-3B0FAACAE7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1A1E22FB-2E2F-C443-9472-4B66CF8E3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A4D1876-F45D-5E48-AA91-CDCC9F1F1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935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Legg inn en kort tittel – helst kun en linj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D0F5BF39-16BA-C14F-A7C3-3AACD48A4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CFC9BE17-CD97-254A-87EF-4AFCD966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57D44CF1-7BE2-D64B-B435-1D19949FB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593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533400" y="1717675"/>
            <a:ext cx="5400675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219826" y="1717675"/>
            <a:ext cx="5418138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5DF6D4A3-153B-0D4B-A2FC-9B63721F8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8F9FC4B3-4FF2-604D-9DE9-1EE7BED47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41789D31-829C-9542-98AE-CA8FB67F89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EEE34A35-CBC4-EF4E-A052-9167A47EB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52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5" y="1720800"/>
            <a:ext cx="5397500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5" y="2476894"/>
            <a:ext cx="5397500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19826" y="1720800"/>
            <a:ext cx="5418138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219826" y="2476894"/>
            <a:ext cx="5418138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A3975D18-47A5-3745-AB33-E3C163757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55F7F71D-12F7-7745-B70C-12B83836E2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527FD8C-5D4F-0947-BE64-592B40EC1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972B9C3-07BF-A44F-A9F5-56A1D9C8F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886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4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26A62874-6308-9440-A195-D94B2B44AB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DBCA54E-72A5-EA44-A94E-AD8C2B3772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6574EEE3-FFA6-8040-AF04-4232FA57EC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46463D81-5F72-764F-8BEA-3B7DA320C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856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F35EB9DB-4C26-244E-BC21-AD5BFB8E7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B8E3EF76-8518-7040-BA85-615A89CF1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D4B718F1-22E5-F647-A514-CCD78A8EF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784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3">
            <a:extLst>
              <a:ext uri="{FF2B5EF4-FFF2-40B4-BE49-F238E27FC236}">
                <a16:creationId xmlns:a16="http://schemas.microsoft.com/office/drawing/2014/main" id="{0F3DEFE6-7236-1147-B66B-0A00218222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33585C82-95B9-784F-9F30-783052A860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BEB724ED-4843-7D4D-9564-E29DB4849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954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- logo øv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10" y="441326"/>
            <a:ext cx="821601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dato 3">
            <a:extLst>
              <a:ext uri="{FF2B5EF4-FFF2-40B4-BE49-F238E27FC236}">
                <a16:creationId xmlns:a16="http://schemas.microsoft.com/office/drawing/2014/main" id="{2657246D-430A-1B4E-8CC1-F7E7392EF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F16CF5FB-58D8-D64A-9EDD-82B040CC7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75E02ED9-8603-5A4B-9B1C-2075F3B280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1838" y="473763"/>
            <a:ext cx="1237527" cy="337508"/>
          </a:xfrm>
          <a:prstGeom prst="rect">
            <a:avLst/>
          </a:prstGeom>
        </p:spPr>
      </p:pic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4BAF34F5-A4BF-CA41-B2EA-A70FEB18F6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312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fsid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9032A32-43BA-2944-9F87-5FAD86931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2808" y="1458632"/>
            <a:ext cx="2032000" cy="3810000"/>
          </a:xfrm>
          <a:prstGeom prst="rect">
            <a:avLst/>
          </a:prstGeom>
        </p:spPr>
      </p:pic>
      <p:sp>
        <p:nvSpPr>
          <p:cNvPr id="24" name="Plassholder for tittel 1">
            <a:extLst>
              <a:ext uri="{FF2B5EF4-FFF2-40B4-BE49-F238E27FC236}">
                <a16:creationId xmlns:a16="http://schemas.microsoft.com/office/drawing/2014/main" id="{78F68C35-50F0-4F4B-93AB-B92EC7257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7" y="441325"/>
            <a:ext cx="6964362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15403AB-D38D-2D40-859C-D1A1339E61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5"/>
            <a:ext cx="6964362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4C396ACB-D58C-9448-A6D5-35550FDA0D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7" name="Plassholder for bunntekst 4">
            <a:extLst>
              <a:ext uri="{FF2B5EF4-FFF2-40B4-BE49-F238E27FC236}">
                <a16:creationId xmlns:a16="http://schemas.microsoft.com/office/drawing/2014/main" id="{CCA88CAF-9C1D-B042-97EC-E3BF4004C5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8" name="Plassholder for lysbildenummer 5">
            <a:extLst>
              <a:ext uri="{FF2B5EF4-FFF2-40B4-BE49-F238E27FC236}">
                <a16:creationId xmlns:a16="http://schemas.microsoft.com/office/drawing/2014/main" id="{8383E26C-831F-9B49-A190-29C2D7134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9EDE06E8-D1DC-1647-B8E6-8D4239E0E2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91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DC49616E-436E-5242-901E-9DF41FB7FB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1FB4ACCB-1FD3-684B-8D1C-EA5BAB6F8A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2ED0D117-0FEA-254B-AB69-27AE45B34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6361A72-19F1-2348-ABF9-47D0CA94CD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457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5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8CBDB767-2F98-F741-8B4B-6270682816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3541152E-E6AF-484B-9556-D1162F1F8A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8DB621D-792D-DE45-B3DC-4E12A00F23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80960108-5B6F-8546-9846-503004921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82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CB0AC0F0-9CB0-9F48-8756-4FCF565D9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4D59302-6EFA-FF47-9E2F-43F163B50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AB87EC4F-EA12-D146-9120-CC8AFDED3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5862734A-9309-BB4A-B821-18A757AA43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69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B3C8451E-8686-2548-A7BF-B0A2D8060C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BB8898EE-10A5-E24D-9D82-3B0FAACAE7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1A1E22FB-2E2F-C443-9472-4B66CF8E3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A4D1876-F45D-5E48-AA91-CDCC9F1F1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64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CB0AC0F0-9CB0-9F48-8756-4FCF565D9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4D59302-6EFA-FF47-9E2F-43F163B50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AB87EC4F-EA12-D146-9120-CC8AFDED3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5862734A-9309-BB4A-B821-18A757AA43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198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E9D6F75E-BD52-B647-93BA-BFF630D9D3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617E5D9-2935-F041-B220-728361B2F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AC384330-5A1D-8347-A4AC-AD1A1FCF5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06D46D29-639B-4D41-A88F-26F2ED5244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32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92F1234-6FEE-1F4A-8B52-47231479F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6260909-39D7-6747-BB04-8D8CBC779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DCB3168E-DD6D-3B43-92C0-2D92CF281C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6BB8971F-1819-4448-B145-635547F44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669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FB5D1DB-BDCA-6741-A7AC-F407FFCC51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D9602153-E0EE-E24D-BC07-26F36D299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92FC343-A27D-BD46-9817-DD0BA174AD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F89DDDB-0F47-2F4E-BDA6-F24E09A60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029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504EA9F6-7045-FC41-A423-D38EDC4DA7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FAF80B36-C8D1-3B40-8394-672E64AA9C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BB4ABD11-86EC-6C4A-B6A8-05EDC96E6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18018CD-3FA5-704E-A024-FDD3008AD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989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41325"/>
            <a:ext cx="111045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84503C4B-BE11-EA4B-85B8-6A31738B7F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76CAB6C9-385C-3444-AFF4-59E1B99014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AC5E61-E36B-1B4F-809B-2A24F3739F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CFC72B8-0F18-844E-B480-172914ABCA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491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07CFE3C0-C378-2A46-AE28-0A940DDBFD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8996A273-7B08-E345-96CD-5C981E2F2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7680AE4-57B0-4C46-86F7-BCC15311D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841690D-F17D-CE43-8C03-A7D32092CC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828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2FE8602-FA90-B247-A046-E8E7EBE6E2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596CC03D-23CA-4942-AC34-E1115C999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0CD8D416-89DE-D841-ADAC-2460E48EA1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4196D88-A6B4-0A41-8DCA-57C21557FC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187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6AB1B9B9-7AF3-A04C-99EF-F5BAFC0164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31474979-FC08-784D-AB55-FADC08A91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32CF89C-389F-F243-94A8-6A636F138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9EA4CB3E-CC11-8F4A-9655-BD36DC240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424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E9D6F75E-BD52-B647-93BA-BFF630D9D3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617E5D9-2935-F041-B220-728361B2F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AC384330-5A1D-8347-A4AC-AD1A1FCF5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06D46D29-639B-4D41-A88F-26F2ED5244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136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2FF212A1-0EA6-4842-B71C-3B7C1DF5D7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44717428-D91F-214C-AF9F-7D4D877D4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278163" y="750887"/>
            <a:ext cx="4359800" cy="6107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12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17B58E9-A9EB-484E-8AC8-2EF5F7AAB9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78056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4BA9353F-8264-164C-AE3D-312E24007D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4631" y="895488"/>
            <a:ext cx="5977370" cy="506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0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F9C385C-E5CD-9D40-BEC9-E93C6E88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6" y="855134"/>
            <a:ext cx="5435437" cy="539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2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F4A1C61-652D-114F-A26E-3D2C5E745B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096000" y="908050"/>
            <a:ext cx="5685916" cy="5597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0813AE6D-BAA0-F142-B866-3FE65B8C40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75257" y="441325"/>
            <a:ext cx="4274978" cy="61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06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AE684261-8284-5344-8D40-D1B7A5E7EF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5" y="972842"/>
            <a:ext cx="5972175" cy="52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2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D4B3E861-BC0B-E748-809B-7D68B7719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9817"/>
          <a:stretch/>
        </p:blipFill>
        <p:spPr>
          <a:xfrm>
            <a:off x="5937250" y="1114536"/>
            <a:ext cx="6254750" cy="4863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9889F-4FD6-FF47-9C0D-8696C4F10B88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296583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A44AC-9971-CE4D-A74E-A52F9A049E0D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" name="Plassholder for bilde 7">
            <a:extLst>
              <a:ext uri="{FF2B5EF4-FFF2-40B4-BE49-F238E27FC236}">
                <a16:creationId xmlns:a16="http://schemas.microsoft.com/office/drawing/2014/main" id="{53BC9DDF-E16E-2340-8B9C-18EDE0B08D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318715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2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24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257565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92F1234-6FEE-1F4A-8B52-47231479F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6260909-39D7-6747-BB04-8D8CBC779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DCB3168E-DD6D-3B43-92C0-2D92CF281C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6BB8971F-1819-4448-B145-635547F44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162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282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00564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62336E37-D479-3B41-9185-4DF7AFDC8F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0846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340968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4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399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399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399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7" name="Plassholder for bilde 5">
            <a:extLst>
              <a:ext uri="{FF2B5EF4-FFF2-40B4-BE49-F238E27FC236}">
                <a16:creationId xmlns:a16="http://schemas.microsoft.com/office/drawing/2014/main" id="{59271FB1-264F-D44B-9172-C2EFFE89DD3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371468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8" name="Plassholder for tekst 29">
            <a:extLst>
              <a:ext uri="{FF2B5EF4-FFF2-40B4-BE49-F238E27FC236}">
                <a16:creationId xmlns:a16="http://schemas.microsoft.com/office/drawing/2014/main" id="{B5BF182E-7E5B-574A-89A7-BDBC9F9D6FB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71467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3" name="Plassholder for tekst 29">
            <a:extLst>
              <a:ext uri="{FF2B5EF4-FFF2-40B4-BE49-F238E27FC236}">
                <a16:creationId xmlns:a16="http://schemas.microsoft.com/office/drawing/2014/main" id="{9B5C325E-BF08-274F-BB44-A63181BB33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467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4" name="Plassholder for tekst 29">
            <a:extLst>
              <a:ext uri="{FF2B5EF4-FFF2-40B4-BE49-F238E27FC236}">
                <a16:creationId xmlns:a16="http://schemas.microsoft.com/office/drawing/2014/main" id="{4FD8B1C3-1D73-7847-A87E-7754165822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467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9" name="Plassholder for bilde 5">
            <a:extLst>
              <a:ext uri="{FF2B5EF4-FFF2-40B4-BE49-F238E27FC236}">
                <a16:creationId xmlns:a16="http://schemas.microsoft.com/office/drawing/2014/main" id="{AB8F2C20-F305-9F4E-9521-4170F4EA444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09536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0" name="Plassholder for tekst 29">
            <a:extLst>
              <a:ext uri="{FF2B5EF4-FFF2-40B4-BE49-F238E27FC236}">
                <a16:creationId xmlns:a16="http://schemas.microsoft.com/office/drawing/2014/main" id="{FDD45BB0-FF53-F54F-A166-DC2274D25A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09534" y="4584480"/>
            <a:ext cx="2590361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5" name="Plassholder for tekst 29">
            <a:extLst>
              <a:ext uri="{FF2B5EF4-FFF2-40B4-BE49-F238E27FC236}">
                <a16:creationId xmlns:a16="http://schemas.microsoft.com/office/drawing/2014/main" id="{D68344EF-1ECE-124A-A5FF-0594577B00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9534" y="4584480"/>
            <a:ext cx="2590361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6" name="Plassholder for tekst 29">
            <a:extLst>
              <a:ext uri="{FF2B5EF4-FFF2-40B4-BE49-F238E27FC236}">
                <a16:creationId xmlns:a16="http://schemas.microsoft.com/office/drawing/2014/main" id="{228FCD1A-4C65-1F42-BEF5-20303008A8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9534" y="4954817"/>
            <a:ext cx="2590361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1" name="Plassholder for bilde 5">
            <a:extLst>
              <a:ext uri="{FF2B5EF4-FFF2-40B4-BE49-F238E27FC236}">
                <a16:creationId xmlns:a16="http://schemas.microsoft.com/office/drawing/2014/main" id="{38E67570-BD86-BE47-A7A6-3F97EE83918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047603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2" name="Plassholder for tekst 29">
            <a:extLst>
              <a:ext uri="{FF2B5EF4-FFF2-40B4-BE49-F238E27FC236}">
                <a16:creationId xmlns:a16="http://schemas.microsoft.com/office/drawing/2014/main" id="{5B835929-7B37-BE4A-B019-F68E678F75A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47602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7" name="Plassholder for tekst 29">
            <a:extLst>
              <a:ext uri="{FF2B5EF4-FFF2-40B4-BE49-F238E27FC236}">
                <a16:creationId xmlns:a16="http://schemas.microsoft.com/office/drawing/2014/main" id="{1F32A157-741D-C74E-961F-DBC5FE42987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47602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8" name="Plassholder for tekst 29">
            <a:extLst>
              <a:ext uri="{FF2B5EF4-FFF2-40B4-BE49-F238E27FC236}">
                <a16:creationId xmlns:a16="http://schemas.microsoft.com/office/drawing/2014/main" id="{EC08704F-EBB2-2D45-9B11-2390F952A9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47602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22" name="Plassholder for dato 3">
            <a:extLst>
              <a:ext uri="{FF2B5EF4-FFF2-40B4-BE49-F238E27FC236}">
                <a16:creationId xmlns:a16="http://schemas.microsoft.com/office/drawing/2014/main" id="{6148CBC5-69D6-DD4C-8E83-BBA57F6226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23" name="Plassholder for bunntekst 4">
            <a:extLst>
              <a:ext uri="{FF2B5EF4-FFF2-40B4-BE49-F238E27FC236}">
                <a16:creationId xmlns:a16="http://schemas.microsoft.com/office/drawing/2014/main" id="{F47CF354-EBEE-3143-A63C-33B8EC99E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4" name="Plassholder for lysbildenummer 5">
            <a:extLst>
              <a:ext uri="{FF2B5EF4-FFF2-40B4-BE49-F238E27FC236}">
                <a16:creationId xmlns:a16="http://schemas.microsoft.com/office/drawing/2014/main" id="{0C46C896-3D45-4346-A58D-57F15205A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169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12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400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400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25872"/>
            <a:ext cx="1639888" cy="170638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39" name="Plassholder for bilde 5">
            <a:extLst>
              <a:ext uri="{FF2B5EF4-FFF2-40B4-BE49-F238E27FC236}">
                <a16:creationId xmlns:a16="http://schemas.microsoft.com/office/drawing/2014/main" id="{C1527520-8AF8-4A4D-B56C-7257F0CA534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42633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0" name="Plassholder for tekst 29">
            <a:extLst>
              <a:ext uri="{FF2B5EF4-FFF2-40B4-BE49-F238E27FC236}">
                <a16:creationId xmlns:a16="http://schemas.microsoft.com/office/drawing/2014/main" id="{1B88A589-A5B5-754E-AF4F-3F7298B363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26334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Plassholder for tekst 29">
            <a:extLst>
              <a:ext uri="{FF2B5EF4-FFF2-40B4-BE49-F238E27FC236}">
                <a16:creationId xmlns:a16="http://schemas.microsoft.com/office/drawing/2014/main" id="{6A52437B-7CAC-CE4D-885C-B024153FB2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26334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2" name="Plassholder for tekst 29">
            <a:extLst>
              <a:ext uri="{FF2B5EF4-FFF2-40B4-BE49-F238E27FC236}">
                <a16:creationId xmlns:a16="http://schemas.microsoft.com/office/drawing/2014/main" id="{006CAC39-5C96-C244-BA46-065E019385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26334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45" name="Plassholder for bilde 5">
            <a:extLst>
              <a:ext uri="{FF2B5EF4-FFF2-40B4-BE49-F238E27FC236}">
                <a16:creationId xmlns:a16="http://schemas.microsoft.com/office/drawing/2014/main" id="{E555D74C-6955-7F47-ADAA-C6ED83DB00D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1927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6" name="Plassholder for tekst 29">
            <a:extLst>
              <a:ext uri="{FF2B5EF4-FFF2-40B4-BE49-F238E27FC236}">
                <a16:creationId xmlns:a16="http://schemas.microsoft.com/office/drawing/2014/main" id="{F82E7DD7-B26C-BA40-8E18-61B26814726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19267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Plassholder for tekst 29">
            <a:extLst>
              <a:ext uri="{FF2B5EF4-FFF2-40B4-BE49-F238E27FC236}">
                <a16:creationId xmlns:a16="http://schemas.microsoft.com/office/drawing/2014/main" id="{C7F737FD-235C-1849-83D4-06BDC9828C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19267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8" name="Plassholder for tekst 29">
            <a:extLst>
              <a:ext uri="{FF2B5EF4-FFF2-40B4-BE49-F238E27FC236}">
                <a16:creationId xmlns:a16="http://schemas.microsoft.com/office/drawing/2014/main" id="{F392D149-80E1-7540-AFFF-0303A3F0E6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9267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1" name="Plassholder for bilde 5">
            <a:extLst>
              <a:ext uri="{FF2B5EF4-FFF2-40B4-BE49-F238E27FC236}">
                <a16:creationId xmlns:a16="http://schemas.microsoft.com/office/drawing/2014/main" id="{E149B48A-456A-2845-8EDE-CA6015EAA8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1220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2" name="Plassholder for tekst 29">
            <a:extLst>
              <a:ext uri="{FF2B5EF4-FFF2-40B4-BE49-F238E27FC236}">
                <a16:creationId xmlns:a16="http://schemas.microsoft.com/office/drawing/2014/main" id="{8BBDE235-D234-884D-A9B3-DEEE4FDA07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12199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3" name="Plassholder for tekst 29">
            <a:extLst>
              <a:ext uri="{FF2B5EF4-FFF2-40B4-BE49-F238E27FC236}">
                <a16:creationId xmlns:a16="http://schemas.microsoft.com/office/drawing/2014/main" id="{3C86E898-6675-9A4B-9B2B-AC37B638F36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2199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54" name="Plassholder for tekst 29">
            <a:extLst>
              <a:ext uri="{FF2B5EF4-FFF2-40B4-BE49-F238E27FC236}">
                <a16:creationId xmlns:a16="http://schemas.microsoft.com/office/drawing/2014/main" id="{2E8CCFD1-66A7-E149-B045-934DE5A116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2199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7" name="Plassholder for bilde 5">
            <a:extLst>
              <a:ext uri="{FF2B5EF4-FFF2-40B4-BE49-F238E27FC236}">
                <a16:creationId xmlns:a16="http://schemas.microsoft.com/office/drawing/2014/main" id="{32FD0D63-CBF3-0247-826A-53F7B8457AE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0514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8" name="Plassholder for tekst 29">
            <a:extLst>
              <a:ext uri="{FF2B5EF4-FFF2-40B4-BE49-F238E27FC236}">
                <a16:creationId xmlns:a16="http://schemas.microsoft.com/office/drawing/2014/main" id="{8244C0D0-B447-364F-AD7E-829EA1AB2C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105128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9" name="Plassholder for tekst 29">
            <a:extLst>
              <a:ext uri="{FF2B5EF4-FFF2-40B4-BE49-F238E27FC236}">
                <a16:creationId xmlns:a16="http://schemas.microsoft.com/office/drawing/2014/main" id="{6D63F879-14EF-9A48-9712-21BBBB54781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05128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0" name="Plassholder for tekst 29">
            <a:extLst>
              <a:ext uri="{FF2B5EF4-FFF2-40B4-BE49-F238E27FC236}">
                <a16:creationId xmlns:a16="http://schemas.microsoft.com/office/drawing/2014/main" id="{88F82980-3B21-D34A-AF1F-75CB65A974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05128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3" name="Plassholder for bilde 5">
            <a:extLst>
              <a:ext uri="{FF2B5EF4-FFF2-40B4-BE49-F238E27FC236}">
                <a16:creationId xmlns:a16="http://schemas.microsoft.com/office/drawing/2014/main" id="{A8F5D8CD-9CC3-304F-AC71-F7D7C7D9A56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998076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4" name="Plassholder for tekst 29">
            <a:extLst>
              <a:ext uri="{FF2B5EF4-FFF2-40B4-BE49-F238E27FC236}">
                <a16:creationId xmlns:a16="http://schemas.microsoft.com/office/drawing/2014/main" id="{C6D3F3AC-E770-A845-8FBB-EF4E76A0BA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98076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5" name="Plassholder for tekst 29">
            <a:extLst>
              <a:ext uri="{FF2B5EF4-FFF2-40B4-BE49-F238E27FC236}">
                <a16:creationId xmlns:a16="http://schemas.microsoft.com/office/drawing/2014/main" id="{8DC60941-BE57-CB42-8EC1-4E93C9082B3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98076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6" name="Plassholder for tekst 29">
            <a:extLst>
              <a:ext uri="{FF2B5EF4-FFF2-40B4-BE49-F238E27FC236}">
                <a16:creationId xmlns:a16="http://schemas.microsoft.com/office/drawing/2014/main" id="{580077CD-82F7-0F43-B1AE-AB9A2B9A0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98076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9" name="Plassholder for bilde 5">
            <a:extLst>
              <a:ext uri="{FF2B5EF4-FFF2-40B4-BE49-F238E27FC236}">
                <a16:creationId xmlns:a16="http://schemas.microsoft.com/office/drawing/2014/main" id="{BEC60C22-6789-C149-8F53-BD9A22992E4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3340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0" name="Plassholder for tekst 29">
            <a:extLst>
              <a:ext uri="{FF2B5EF4-FFF2-40B4-BE49-F238E27FC236}">
                <a16:creationId xmlns:a16="http://schemas.microsoft.com/office/drawing/2014/main" id="{777A5458-44E0-854C-9450-DE7D278309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3400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1" name="Plassholder for tekst 29">
            <a:extLst>
              <a:ext uri="{FF2B5EF4-FFF2-40B4-BE49-F238E27FC236}">
                <a16:creationId xmlns:a16="http://schemas.microsoft.com/office/drawing/2014/main" id="{D87F24F9-02BB-3B40-AC63-DDEA55E5056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33400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2" name="Plassholder for tekst 29">
            <a:extLst>
              <a:ext uri="{FF2B5EF4-FFF2-40B4-BE49-F238E27FC236}">
                <a16:creationId xmlns:a16="http://schemas.microsoft.com/office/drawing/2014/main" id="{E3891B74-C144-F647-9F6A-88B4FB4629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33400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5" name="Plassholder for bilde 5">
            <a:extLst>
              <a:ext uri="{FF2B5EF4-FFF2-40B4-BE49-F238E27FC236}">
                <a16:creationId xmlns:a16="http://schemas.microsoft.com/office/drawing/2014/main" id="{41F2453F-1837-E04D-912E-245AB200BB7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42633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6" name="Plassholder for tekst 29">
            <a:extLst>
              <a:ext uri="{FF2B5EF4-FFF2-40B4-BE49-F238E27FC236}">
                <a16:creationId xmlns:a16="http://schemas.microsoft.com/office/drawing/2014/main" id="{EBA33246-23BD-5B45-AA53-A913495F948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426334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7" name="Plassholder for tekst 29">
            <a:extLst>
              <a:ext uri="{FF2B5EF4-FFF2-40B4-BE49-F238E27FC236}">
                <a16:creationId xmlns:a16="http://schemas.microsoft.com/office/drawing/2014/main" id="{D3F7A8C3-9DC7-E848-83EF-F0E36DDE85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26334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8" name="Plassholder for tekst 29">
            <a:extLst>
              <a:ext uri="{FF2B5EF4-FFF2-40B4-BE49-F238E27FC236}">
                <a16:creationId xmlns:a16="http://schemas.microsoft.com/office/drawing/2014/main" id="{781FF7A4-D72C-BF49-8535-3E85AD50A3D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426334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1" name="Plassholder for bilde 5">
            <a:extLst>
              <a:ext uri="{FF2B5EF4-FFF2-40B4-BE49-F238E27FC236}">
                <a16:creationId xmlns:a16="http://schemas.microsoft.com/office/drawing/2014/main" id="{BA86B9DD-66C5-174C-92BB-C725E47C7D37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1927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2" name="Plassholder for tekst 29">
            <a:extLst>
              <a:ext uri="{FF2B5EF4-FFF2-40B4-BE49-F238E27FC236}">
                <a16:creationId xmlns:a16="http://schemas.microsoft.com/office/drawing/2014/main" id="{A10DC0C7-3D88-C44D-B6E4-12D5F68D78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319267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3" name="Plassholder for tekst 29">
            <a:extLst>
              <a:ext uri="{FF2B5EF4-FFF2-40B4-BE49-F238E27FC236}">
                <a16:creationId xmlns:a16="http://schemas.microsoft.com/office/drawing/2014/main" id="{43E78351-A9BA-8B48-9BD5-F064F389B74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19267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4" name="Plassholder for tekst 29">
            <a:extLst>
              <a:ext uri="{FF2B5EF4-FFF2-40B4-BE49-F238E27FC236}">
                <a16:creationId xmlns:a16="http://schemas.microsoft.com/office/drawing/2014/main" id="{56956FD0-54E3-6143-93FE-7B03ECD745A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19267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7" name="Plassholder for bilde 5">
            <a:extLst>
              <a:ext uri="{FF2B5EF4-FFF2-40B4-BE49-F238E27FC236}">
                <a16:creationId xmlns:a16="http://schemas.microsoft.com/office/drawing/2014/main" id="{B18DDB92-B9CB-BE4D-ABA7-E97DDD2D026C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621220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8" name="Plassholder for tekst 29">
            <a:extLst>
              <a:ext uri="{FF2B5EF4-FFF2-40B4-BE49-F238E27FC236}">
                <a16:creationId xmlns:a16="http://schemas.microsoft.com/office/drawing/2014/main" id="{CC23D3A1-C464-9D41-91E5-CB109A040C0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212199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9" name="Plassholder for tekst 29">
            <a:extLst>
              <a:ext uri="{FF2B5EF4-FFF2-40B4-BE49-F238E27FC236}">
                <a16:creationId xmlns:a16="http://schemas.microsoft.com/office/drawing/2014/main" id="{932B09A9-BDE2-9949-9E26-011E5C8DE61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12199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0" name="Plassholder for tekst 29">
            <a:extLst>
              <a:ext uri="{FF2B5EF4-FFF2-40B4-BE49-F238E27FC236}">
                <a16:creationId xmlns:a16="http://schemas.microsoft.com/office/drawing/2014/main" id="{C2747A3A-C218-9B47-8D8C-15DBCD84A99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2199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3" name="Plassholder for bilde 5">
            <a:extLst>
              <a:ext uri="{FF2B5EF4-FFF2-40B4-BE49-F238E27FC236}">
                <a16:creationId xmlns:a16="http://schemas.microsoft.com/office/drawing/2014/main" id="{C603C6DA-265E-0846-A123-77ABF62757E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810514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4" name="Plassholder for tekst 29">
            <a:extLst>
              <a:ext uri="{FF2B5EF4-FFF2-40B4-BE49-F238E27FC236}">
                <a16:creationId xmlns:a16="http://schemas.microsoft.com/office/drawing/2014/main" id="{44B979E2-48FD-AC4E-B66C-79206AE6230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105128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5" name="Plassholder for tekst 29">
            <a:extLst>
              <a:ext uri="{FF2B5EF4-FFF2-40B4-BE49-F238E27FC236}">
                <a16:creationId xmlns:a16="http://schemas.microsoft.com/office/drawing/2014/main" id="{BD82B775-BF04-E543-9333-4D140E5E162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05128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6" name="Plassholder for tekst 29">
            <a:extLst>
              <a:ext uri="{FF2B5EF4-FFF2-40B4-BE49-F238E27FC236}">
                <a16:creationId xmlns:a16="http://schemas.microsoft.com/office/drawing/2014/main" id="{443F3A2F-DE0F-2849-8F3E-69A4E42D56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05128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9" name="Plassholder for bilde 5">
            <a:extLst>
              <a:ext uri="{FF2B5EF4-FFF2-40B4-BE49-F238E27FC236}">
                <a16:creationId xmlns:a16="http://schemas.microsoft.com/office/drawing/2014/main" id="{1204D9F2-9AF9-E540-92B8-08BA17E4C00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998076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00" name="Plassholder for tekst 29">
            <a:extLst>
              <a:ext uri="{FF2B5EF4-FFF2-40B4-BE49-F238E27FC236}">
                <a16:creationId xmlns:a16="http://schemas.microsoft.com/office/drawing/2014/main" id="{883C2FD0-0EB1-CB4F-84F8-522689EBE2B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9998076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1" name="Plassholder for tekst 29">
            <a:extLst>
              <a:ext uri="{FF2B5EF4-FFF2-40B4-BE49-F238E27FC236}">
                <a16:creationId xmlns:a16="http://schemas.microsoft.com/office/drawing/2014/main" id="{FC75D5FC-AFA3-0345-8A3B-7B02E531F0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998076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102" name="Plassholder for tekst 29">
            <a:extLst>
              <a:ext uri="{FF2B5EF4-FFF2-40B4-BE49-F238E27FC236}">
                <a16:creationId xmlns:a16="http://schemas.microsoft.com/office/drawing/2014/main" id="{C91E21A9-51C1-CC48-858B-3B75041DF36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98076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5" name="Plassholder for dato 3">
            <a:extLst>
              <a:ext uri="{FF2B5EF4-FFF2-40B4-BE49-F238E27FC236}">
                <a16:creationId xmlns:a16="http://schemas.microsoft.com/office/drawing/2014/main" id="{FF401711-5771-E348-B884-4494C15535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56" name="Plassholder for bunntekst 4">
            <a:extLst>
              <a:ext uri="{FF2B5EF4-FFF2-40B4-BE49-F238E27FC236}">
                <a16:creationId xmlns:a16="http://schemas.microsoft.com/office/drawing/2014/main" id="{B4D6C75C-1A1B-A34D-A089-D65B6B6192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61" name="Plassholder for lysbildenummer 5">
            <a:extLst>
              <a:ext uri="{FF2B5EF4-FFF2-40B4-BE49-F238E27FC236}">
                <a16:creationId xmlns:a16="http://schemas.microsoft.com/office/drawing/2014/main" id="{62072BB7-75F3-4C45-A4FC-90BE55839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723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5400" b="1">
                <a:solidFill>
                  <a:srgbClr val="0085C0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6762BAF8-3152-9949-A56A-A5A1EE864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bunntekst 4">
            <a:extLst>
              <a:ext uri="{FF2B5EF4-FFF2-40B4-BE49-F238E27FC236}">
                <a16:creationId xmlns:a16="http://schemas.microsoft.com/office/drawing/2014/main" id="{2F5D33DF-151F-8C44-BE69-22D4DBDB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1511340-35CB-2D49-A578-472198643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45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6751417D-366D-B143-B31C-C73D41ED7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DE9C3F96-76FA-0F47-AD15-ECE16BD696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DF0D807-F9C3-DF43-9BB0-34DE90CD4A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2B334FB-FF4A-5E4F-8B82-4F7AA6118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476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EBB92826-BA27-4C49-B3E0-BE6A934E05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3673888A-BCCE-1D4E-AFF7-B5653A81B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61F5AA2-5D29-3345-A3DD-65737A9056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3EBECE2-BEAB-1141-9F28-663B0C0919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58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76E25B0E-2728-384B-8A49-85C1E119C5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A38E396D-E5A4-4749-BB0E-2CD8C6E53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0959ECA-CEEA-514E-9333-D54056F6D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C30A7E8-E3FA-5345-9EC5-FC002C5EA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467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639BB181-5361-0549-95AA-E8D5F2ECE1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57D11602-5F7A-484B-B659-33C6039CC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524E66A8-337A-3442-B197-501BCA5548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3537D87F-9CDB-3743-9790-3ADBED139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14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E79DD916-2AFD-0042-A062-3DF84E6EAA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DF7D2294-8285-EB4C-8FC9-10E306C333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E467120E-4C46-C84E-B9CC-7D85C232D6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FEA34F2D-7D05-4B4E-B4C7-515183E925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62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 lyseblå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A0BC74E1-5CDF-5142-A7EF-A67FC8EA8B85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4" y="1717675"/>
            <a:ext cx="6964363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4" y="2476894"/>
            <a:ext cx="6964363" cy="347305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424C2C66-B4EF-CA45-9EB9-E4586F52A88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12045" y="1717675"/>
            <a:ext cx="3317408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774B19EF-5681-0545-BB92-34D2FCE4346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2046" y="2476894"/>
            <a:ext cx="3317408" cy="3473056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ittel 1">
            <a:extLst>
              <a:ext uri="{FF2B5EF4-FFF2-40B4-BE49-F238E27FC236}">
                <a16:creationId xmlns:a16="http://schemas.microsoft.com/office/drawing/2014/main" id="{F849F286-9522-0646-9DE3-D32E129FB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CA468E9D-E235-064F-A185-148548D280F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8" name="Plassholder for bunntekst 4">
            <a:extLst>
              <a:ext uri="{FF2B5EF4-FFF2-40B4-BE49-F238E27FC236}">
                <a16:creationId xmlns:a16="http://schemas.microsoft.com/office/drawing/2014/main" id="{FDB1A09E-D868-104A-96D0-CF2DEB27E0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0" name="Plassholder for lysbildenummer 5">
            <a:extLst>
              <a:ext uri="{FF2B5EF4-FFF2-40B4-BE49-F238E27FC236}">
                <a16:creationId xmlns:a16="http://schemas.microsoft.com/office/drawing/2014/main" id="{A6E38C66-DB73-4E4F-A7B8-74AF750877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B496756-72A7-9845-9F89-587C35D446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55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FB5D1DB-BDCA-6741-A7AC-F407FFCC51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D9602153-E0EE-E24D-BC07-26F36D299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92FC343-A27D-BD46-9817-DD0BA174AD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F89DDDB-0F47-2F4E-BDA6-F24E09A60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601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12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452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912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995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med teks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0"/>
          </p:nvPr>
        </p:nvSpPr>
        <p:spPr>
          <a:xfrm>
            <a:off x="533400" y="4320540"/>
            <a:ext cx="11098213" cy="1620203"/>
          </a:xfrm>
          <a:noFill/>
        </p:spPr>
        <p:txBody>
          <a:bodyPr/>
          <a:lstStyle>
            <a:lvl1pPr marL="0" indent="0" algn="ctr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A977DA6F-4A81-6A4E-A8C5-893DEFD2F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8722" y="1723328"/>
            <a:ext cx="4142206" cy="991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06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547067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4725878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570002C8-2693-0C4A-82A4-2338F407AA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1" y="1080135"/>
            <a:ext cx="4725878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86218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372806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E0BB42C7-821E-45C0-BC26-AA9316E5A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7971A777-BC28-49A3-B7D4-4F4B74EEDD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4725878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8A7237B4-DB03-5742-BB1D-6008EEC8525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1" y="1080135"/>
            <a:ext cx="4725878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4021952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E0BB42C7-821E-45C0-BC26-AA9316E5A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7971A777-BC28-49A3-B7D4-4F4B74EEDD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87167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504EA9F6-7045-FC41-A423-D38EDC4DA7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FAF80B36-C8D1-3B40-8394-672E64AA9C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BB4ABD11-86EC-6C4A-B6A8-05EDC96E6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18018CD-3FA5-704E-A024-FDD3008AD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061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3336675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D0F5BF39-16BA-C14F-A7C3-3AACD48A4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CFC9BE17-CD97-254A-87EF-4AFCD966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57D44CF1-7BE2-D64B-B435-1D19949FB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AA35E05-C303-4620-914F-7A72C7409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F5DCBA8-B0EB-498A-84F8-6F6AFDBA31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2449" y="1143000"/>
            <a:ext cx="4352295" cy="396875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b-NO" err="1"/>
              <a:t>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611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9435C06D-6B4A-4F64-97D2-2A45F4B3B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333" y="6156770"/>
            <a:ext cx="909918" cy="356617"/>
          </a:xfrm>
          <a:prstGeom prst="rect">
            <a:avLst/>
          </a:prstGeom>
        </p:spPr>
      </p:pic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79E28BA1-4BA5-4AEB-A7CE-8449E470305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6E57979-1462-449A-895B-13092213837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9997B939-209C-4074-9AD5-3A86278954A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79440" y="6446580"/>
            <a:ext cx="308811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75151" y="675083"/>
            <a:ext cx="11072465" cy="5265659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904980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DA3A417-948B-C949-BA96-989B920783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54706645-2291-C945-9646-D500C040A7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891" y="1717675"/>
            <a:ext cx="11122025" cy="179228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5000" cap="all" baseline="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A76A37AB-1C33-4E44-84DF-1B0CF9440A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4166148"/>
            <a:ext cx="11122025" cy="1192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417F7C5C-CD7B-D847-992A-28F61035730A}"/>
              </a:ext>
            </a:extLst>
          </p:cNvPr>
          <p:cNvCxnSpPr/>
          <p:nvPr userDrawn="1"/>
        </p:nvCxnSpPr>
        <p:spPr>
          <a:xfrm>
            <a:off x="4295775" y="3787914"/>
            <a:ext cx="3600450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k 9">
            <a:extLst>
              <a:ext uri="{FF2B5EF4-FFF2-40B4-BE49-F238E27FC236}">
                <a16:creationId xmlns:a16="http://schemas.microsoft.com/office/drawing/2014/main" id="{4D1C685A-36C8-CB41-A23E-6F684397C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9603" y="5949950"/>
            <a:ext cx="2884815" cy="69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7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Legg inn en kort tittel – helst kun en linj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D0F5BF39-16BA-C14F-A7C3-3AACD48A4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CFC9BE17-CD97-254A-87EF-4AFCD966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57D44CF1-7BE2-D64B-B435-1D19949FB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3250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533400" y="1717675"/>
            <a:ext cx="5400675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219826" y="1717675"/>
            <a:ext cx="5418138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5DF6D4A3-153B-0D4B-A2FC-9B63721F8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8F9FC4B3-4FF2-604D-9DE9-1EE7BED47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41789D31-829C-9542-98AE-CA8FB67F89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EEE34A35-CBC4-EF4E-A052-9167A47EB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716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5" y="1720800"/>
            <a:ext cx="5397500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5" y="2476894"/>
            <a:ext cx="5397500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19826" y="1720800"/>
            <a:ext cx="5418138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219826" y="2476894"/>
            <a:ext cx="5418138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A3975D18-47A5-3745-AB33-E3C163757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55F7F71D-12F7-7745-B70C-12B83836E2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527FD8C-5D4F-0947-BE64-592B40EC1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972B9C3-07BF-A44F-A9F5-56A1D9C8F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291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4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26A62874-6308-9440-A195-D94B2B44AB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DBCA54E-72A5-EA44-A94E-AD8C2B3772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6574EEE3-FFA6-8040-AF04-4232FA57EC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46463D81-5F72-764F-8BEA-3B7DA320C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873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F35EB9DB-4C26-244E-BC21-AD5BFB8E7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B8E3EF76-8518-7040-BA85-615A89CF1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D4B718F1-22E5-F647-A514-CCD78A8EF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527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3">
            <a:extLst>
              <a:ext uri="{FF2B5EF4-FFF2-40B4-BE49-F238E27FC236}">
                <a16:creationId xmlns:a16="http://schemas.microsoft.com/office/drawing/2014/main" id="{0F3DEFE6-7236-1147-B66B-0A00218222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33585C82-95B9-784F-9F30-783052A860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BEB724ED-4843-7D4D-9564-E29DB4849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085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41325"/>
            <a:ext cx="111045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84503C4B-BE11-EA4B-85B8-6A31738B7F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76CAB6C9-385C-3444-AFF4-59E1B99014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AC5E61-E36B-1B4F-809B-2A24F3739F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CFC72B8-0F18-844E-B480-172914ABCA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992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- logo øv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10" y="441326"/>
            <a:ext cx="821601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dato 3">
            <a:extLst>
              <a:ext uri="{FF2B5EF4-FFF2-40B4-BE49-F238E27FC236}">
                <a16:creationId xmlns:a16="http://schemas.microsoft.com/office/drawing/2014/main" id="{2657246D-430A-1B4E-8CC1-F7E7392EF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F16CF5FB-58D8-D64A-9EDD-82B040CC7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75E02ED9-8603-5A4B-9B1C-2075F3B280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1838" y="473763"/>
            <a:ext cx="1237527" cy="337508"/>
          </a:xfrm>
          <a:prstGeom prst="rect">
            <a:avLst/>
          </a:prstGeom>
        </p:spPr>
      </p:pic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4BAF34F5-A4BF-CA41-B2EA-A70FEB18F6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688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fsid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9032A32-43BA-2944-9F87-5FAD86931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2808" y="1458632"/>
            <a:ext cx="2032000" cy="3810000"/>
          </a:xfrm>
          <a:prstGeom prst="rect">
            <a:avLst/>
          </a:prstGeom>
        </p:spPr>
      </p:pic>
      <p:sp>
        <p:nvSpPr>
          <p:cNvPr id="24" name="Plassholder for tittel 1">
            <a:extLst>
              <a:ext uri="{FF2B5EF4-FFF2-40B4-BE49-F238E27FC236}">
                <a16:creationId xmlns:a16="http://schemas.microsoft.com/office/drawing/2014/main" id="{78F68C35-50F0-4F4B-93AB-B92EC7257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7" y="441325"/>
            <a:ext cx="6964362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15403AB-D38D-2D40-859C-D1A1339E61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5"/>
            <a:ext cx="6964362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4C396ACB-D58C-9448-A6D5-35550FDA0D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7" name="Plassholder for bunntekst 4">
            <a:extLst>
              <a:ext uri="{FF2B5EF4-FFF2-40B4-BE49-F238E27FC236}">
                <a16:creationId xmlns:a16="http://schemas.microsoft.com/office/drawing/2014/main" id="{CCA88CAF-9C1D-B042-97EC-E3BF4004C5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8" name="Plassholder for lysbildenummer 5">
            <a:extLst>
              <a:ext uri="{FF2B5EF4-FFF2-40B4-BE49-F238E27FC236}">
                <a16:creationId xmlns:a16="http://schemas.microsoft.com/office/drawing/2014/main" id="{8383E26C-831F-9B49-A190-29C2D7134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9EDE06E8-D1DC-1647-B8E6-8D4239E0E2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64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DC49616E-436E-5242-901E-9DF41FB7FB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1FB4ACCB-1FD3-684B-8D1C-EA5BAB6F8A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2ED0D117-0FEA-254B-AB69-27AE45B34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6361A72-19F1-2348-ABF9-47D0CA94CD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840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5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8CBDB767-2F98-F741-8B4B-6270682816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3541152E-E6AF-484B-9556-D1162F1F8A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8DB621D-792D-DE45-B3DC-4E12A00F23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80960108-5B6F-8546-9846-503004921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942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B3C8451E-8686-2548-A7BF-B0A2D8060C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BB8898EE-10A5-E24D-9D82-3B0FAACAE7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1A1E22FB-2E2F-C443-9472-4B66CF8E3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A4D1876-F45D-5E48-AA91-CDCC9F1F1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99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CB0AC0F0-9CB0-9F48-8756-4FCF565D9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4D59302-6EFA-FF47-9E2F-43F163B50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AB87EC4F-EA12-D146-9120-CC8AFDED3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5862734A-9309-BB4A-B821-18A757AA43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143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E9D6F75E-BD52-B647-93BA-BFF630D9D3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617E5D9-2935-F041-B220-728361B2F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AC384330-5A1D-8347-A4AC-AD1A1FCF5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06D46D29-639B-4D41-A88F-26F2ED5244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81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92F1234-6FEE-1F4A-8B52-47231479F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6260909-39D7-6747-BB04-8D8CBC779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DCB3168E-DD6D-3B43-92C0-2D92CF281C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6BB8971F-1819-4448-B145-635547F44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334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FB5D1DB-BDCA-6741-A7AC-F407FFCC51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D9602153-E0EE-E24D-BC07-26F36D299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92FC343-A27D-BD46-9817-DD0BA174AD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F89DDDB-0F47-2F4E-BDA6-F24E09A60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234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504EA9F6-7045-FC41-A423-D38EDC4DA7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FAF80B36-C8D1-3B40-8394-672E64AA9C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BB4ABD11-86EC-6C4A-B6A8-05EDC96E6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18018CD-3FA5-704E-A024-FDD3008AD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741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DA3A417-948B-C949-BA96-989B920783E4}"/>
              </a:ext>
            </a:extLst>
          </p:cNvPr>
          <p:cNvSpPr/>
          <p:nvPr userDrawn="1"/>
        </p:nvSpPr>
        <p:spPr>
          <a:xfrm>
            <a:off x="0" y="-115329"/>
            <a:ext cx="12192000" cy="685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n>
                <a:solidFill>
                  <a:schemeClr val="tx2"/>
                </a:solidFill>
              </a:ln>
              <a:solidFill>
                <a:schemeClr val="tx2"/>
              </a:solidFill>
            </a:endParaRPr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54706645-2291-C945-9646-D500C040A7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891" y="1717675"/>
            <a:ext cx="11122025" cy="1792287"/>
          </a:xfrm>
          <a:prstGeom prst="rect">
            <a:avLst/>
          </a:prstGeom>
          <a:solidFill>
            <a:srgbClr val="012A4C"/>
          </a:solidFill>
        </p:spPr>
        <p:txBody>
          <a:bodyPr anchor="b">
            <a:noAutofit/>
          </a:bodyPr>
          <a:lstStyle>
            <a:lvl1pPr algn="ctr">
              <a:defRPr sz="5000" cap="all" baseline="0">
                <a:ln>
                  <a:solidFill>
                    <a:srgbClr val="012A4C"/>
                  </a:solidFill>
                </a:ln>
                <a:solidFill>
                  <a:srgbClr val="012A4C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A76A37AB-1C33-4E44-84DF-1B0CF9440A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4166148"/>
            <a:ext cx="11122025" cy="1192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417F7C5C-CD7B-D847-992A-28F61035730A}"/>
              </a:ext>
            </a:extLst>
          </p:cNvPr>
          <p:cNvCxnSpPr/>
          <p:nvPr userDrawn="1"/>
        </p:nvCxnSpPr>
        <p:spPr>
          <a:xfrm>
            <a:off x="4295775" y="3787914"/>
            <a:ext cx="3600450" cy="0"/>
          </a:xfrm>
          <a:prstGeom prst="line">
            <a:avLst/>
          </a:prstGeom>
          <a:ln w="28575">
            <a:solidFill>
              <a:srgbClr val="012A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k 9">
            <a:extLst>
              <a:ext uri="{FF2B5EF4-FFF2-40B4-BE49-F238E27FC236}">
                <a16:creationId xmlns:a16="http://schemas.microsoft.com/office/drawing/2014/main" id="{4D1C685A-36C8-CB41-A23E-6F684397C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9603" y="5949950"/>
            <a:ext cx="2884815" cy="69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2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07CFE3C0-C378-2A46-AE28-0A940DDBFD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8996A273-7B08-E345-96CD-5C981E2F2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7680AE4-57B0-4C46-86F7-BCC15311D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841690D-F17D-CE43-8C03-A7D32092CC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617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41325"/>
            <a:ext cx="111045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84503C4B-BE11-EA4B-85B8-6A31738B7F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76CAB6C9-385C-3444-AFF4-59E1B99014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AC5E61-E36B-1B4F-809B-2A24F3739F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CFC72B8-0F18-844E-B480-172914ABCA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2871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07CFE3C0-C378-2A46-AE28-0A940DDBFD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8996A273-7B08-E345-96CD-5C981E2F2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7680AE4-57B0-4C46-86F7-BCC15311D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841690D-F17D-CE43-8C03-A7D32092CC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731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2FE8602-FA90-B247-A046-E8E7EBE6E2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596CC03D-23CA-4942-AC34-E1115C999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0CD8D416-89DE-D841-ADAC-2460E48EA1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4196D88-A6B4-0A41-8DCA-57C21557FC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673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6AB1B9B9-7AF3-A04C-99EF-F5BAFC0164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31474979-FC08-784D-AB55-FADC08A91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32CF89C-389F-F243-94A8-6A636F138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9EA4CB3E-CC11-8F4A-9655-BD36DC240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548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2FF212A1-0EA6-4842-B71C-3B7C1DF5D7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44717428-D91F-214C-AF9F-7D4D877D4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278163" y="750887"/>
            <a:ext cx="4359800" cy="6107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17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17B58E9-A9EB-484E-8AC8-2EF5F7AAB9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78056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4BA9353F-8264-164C-AE3D-312E24007D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4631" y="895488"/>
            <a:ext cx="5977370" cy="506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04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F9C385C-E5CD-9D40-BEC9-E93C6E88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6" y="855134"/>
            <a:ext cx="5435437" cy="539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9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F4A1C61-652D-114F-A26E-3D2C5E745B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096000" y="908050"/>
            <a:ext cx="5685916" cy="5597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10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0813AE6D-BAA0-F142-B866-3FE65B8C40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75257" y="441325"/>
            <a:ext cx="4274978" cy="61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0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AE684261-8284-5344-8D40-D1B7A5E7EF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5" y="972842"/>
            <a:ext cx="5972175" cy="52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77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2FE8602-FA90-B247-A046-E8E7EBE6E2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596CC03D-23CA-4942-AC34-E1115C999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0CD8D416-89DE-D841-ADAC-2460E48EA1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4196D88-A6B4-0A41-8DCA-57C21557FC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976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D4B3E861-BC0B-E748-809B-7D68B7719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9817"/>
          <a:stretch/>
        </p:blipFill>
        <p:spPr>
          <a:xfrm>
            <a:off x="5937250" y="1114536"/>
            <a:ext cx="6254750" cy="4863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42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C9C785B-9292-4BE0-9E39-27A1287C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110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490B0379-688F-4E70-A696-9FA14899D3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5383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C0FD7CC5-8B90-40F0-8735-D0A3A680D4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8496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53DAF888-1B6E-4DBC-BF0A-3C494541DC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2986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62BA8A5-3146-415E-AE15-7DB28B4408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987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0004E9F1-B900-420C-8235-422B9E42EF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9245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DB32BACC-57B2-461A-B8FC-ADE80343BC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8298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CFF39C27-CE4B-4CE2-B6F4-75ECE47AB3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26864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6B91BA4A-1CFD-4926-B729-794A6E1335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702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6AB1B9B9-7AF3-A04C-99EF-F5BAFC0164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31474979-FC08-784D-AB55-FADC08A91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32CF89C-389F-F243-94A8-6A636F138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9EA4CB3E-CC11-8F4A-9655-BD36DC240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405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8D3EB75-2D50-455A-B761-0DD2573AB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0737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6E5751D-6E83-4D37-9592-F6FEC43524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9085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D1FDE68-DCE8-4552-91E8-5AA25A19D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56777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9889F-4FD6-FF47-9C0D-8696C4F10B88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284089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A44AC-9971-CE4D-A74E-A52F9A049E0D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" name="Plassholder for bilde 7">
            <a:extLst>
              <a:ext uri="{FF2B5EF4-FFF2-40B4-BE49-F238E27FC236}">
                <a16:creationId xmlns:a16="http://schemas.microsoft.com/office/drawing/2014/main" id="{53BC9DDF-E16E-2340-8B9C-18EDE0B08D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249856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2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24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182465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282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00564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62336E37-D479-3B41-9185-4DF7AFDC8F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0846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83363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4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399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399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399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7" name="Plassholder for bilde 5">
            <a:extLst>
              <a:ext uri="{FF2B5EF4-FFF2-40B4-BE49-F238E27FC236}">
                <a16:creationId xmlns:a16="http://schemas.microsoft.com/office/drawing/2014/main" id="{59271FB1-264F-D44B-9172-C2EFFE89DD3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371468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8" name="Plassholder for tekst 29">
            <a:extLst>
              <a:ext uri="{FF2B5EF4-FFF2-40B4-BE49-F238E27FC236}">
                <a16:creationId xmlns:a16="http://schemas.microsoft.com/office/drawing/2014/main" id="{B5BF182E-7E5B-574A-89A7-BDBC9F9D6FB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71467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3" name="Plassholder for tekst 29">
            <a:extLst>
              <a:ext uri="{FF2B5EF4-FFF2-40B4-BE49-F238E27FC236}">
                <a16:creationId xmlns:a16="http://schemas.microsoft.com/office/drawing/2014/main" id="{9B5C325E-BF08-274F-BB44-A63181BB33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467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4" name="Plassholder for tekst 29">
            <a:extLst>
              <a:ext uri="{FF2B5EF4-FFF2-40B4-BE49-F238E27FC236}">
                <a16:creationId xmlns:a16="http://schemas.microsoft.com/office/drawing/2014/main" id="{4FD8B1C3-1D73-7847-A87E-7754165822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467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9" name="Plassholder for bilde 5">
            <a:extLst>
              <a:ext uri="{FF2B5EF4-FFF2-40B4-BE49-F238E27FC236}">
                <a16:creationId xmlns:a16="http://schemas.microsoft.com/office/drawing/2014/main" id="{AB8F2C20-F305-9F4E-9521-4170F4EA444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09536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0" name="Plassholder for tekst 29">
            <a:extLst>
              <a:ext uri="{FF2B5EF4-FFF2-40B4-BE49-F238E27FC236}">
                <a16:creationId xmlns:a16="http://schemas.microsoft.com/office/drawing/2014/main" id="{FDD45BB0-FF53-F54F-A166-DC2274D25A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09534" y="4584480"/>
            <a:ext cx="2590361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5" name="Plassholder for tekst 29">
            <a:extLst>
              <a:ext uri="{FF2B5EF4-FFF2-40B4-BE49-F238E27FC236}">
                <a16:creationId xmlns:a16="http://schemas.microsoft.com/office/drawing/2014/main" id="{D68344EF-1ECE-124A-A5FF-0594577B00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9534" y="4584480"/>
            <a:ext cx="2590361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6" name="Plassholder for tekst 29">
            <a:extLst>
              <a:ext uri="{FF2B5EF4-FFF2-40B4-BE49-F238E27FC236}">
                <a16:creationId xmlns:a16="http://schemas.microsoft.com/office/drawing/2014/main" id="{228FCD1A-4C65-1F42-BEF5-20303008A8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9534" y="4954817"/>
            <a:ext cx="2590361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1" name="Plassholder for bilde 5">
            <a:extLst>
              <a:ext uri="{FF2B5EF4-FFF2-40B4-BE49-F238E27FC236}">
                <a16:creationId xmlns:a16="http://schemas.microsoft.com/office/drawing/2014/main" id="{38E67570-BD86-BE47-A7A6-3F97EE83918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047603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2" name="Plassholder for tekst 29">
            <a:extLst>
              <a:ext uri="{FF2B5EF4-FFF2-40B4-BE49-F238E27FC236}">
                <a16:creationId xmlns:a16="http://schemas.microsoft.com/office/drawing/2014/main" id="{5B835929-7B37-BE4A-B019-F68E678F75A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47602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7" name="Plassholder for tekst 29">
            <a:extLst>
              <a:ext uri="{FF2B5EF4-FFF2-40B4-BE49-F238E27FC236}">
                <a16:creationId xmlns:a16="http://schemas.microsoft.com/office/drawing/2014/main" id="{1F32A157-741D-C74E-961F-DBC5FE42987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47602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8" name="Plassholder for tekst 29">
            <a:extLst>
              <a:ext uri="{FF2B5EF4-FFF2-40B4-BE49-F238E27FC236}">
                <a16:creationId xmlns:a16="http://schemas.microsoft.com/office/drawing/2014/main" id="{EC08704F-EBB2-2D45-9B11-2390F952A9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47602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22" name="Plassholder for dato 3">
            <a:extLst>
              <a:ext uri="{FF2B5EF4-FFF2-40B4-BE49-F238E27FC236}">
                <a16:creationId xmlns:a16="http://schemas.microsoft.com/office/drawing/2014/main" id="{6148CBC5-69D6-DD4C-8E83-BBA57F6226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23" name="Plassholder for bunntekst 4">
            <a:extLst>
              <a:ext uri="{FF2B5EF4-FFF2-40B4-BE49-F238E27FC236}">
                <a16:creationId xmlns:a16="http://schemas.microsoft.com/office/drawing/2014/main" id="{F47CF354-EBEE-3143-A63C-33B8EC99E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4" name="Plassholder for lysbildenummer 5">
            <a:extLst>
              <a:ext uri="{FF2B5EF4-FFF2-40B4-BE49-F238E27FC236}">
                <a16:creationId xmlns:a16="http://schemas.microsoft.com/office/drawing/2014/main" id="{0C46C896-3D45-4346-A58D-57F15205A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472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12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400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400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25872"/>
            <a:ext cx="1639888" cy="170638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39" name="Plassholder for bilde 5">
            <a:extLst>
              <a:ext uri="{FF2B5EF4-FFF2-40B4-BE49-F238E27FC236}">
                <a16:creationId xmlns:a16="http://schemas.microsoft.com/office/drawing/2014/main" id="{C1527520-8AF8-4A4D-B56C-7257F0CA534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42633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0" name="Plassholder for tekst 29">
            <a:extLst>
              <a:ext uri="{FF2B5EF4-FFF2-40B4-BE49-F238E27FC236}">
                <a16:creationId xmlns:a16="http://schemas.microsoft.com/office/drawing/2014/main" id="{1B88A589-A5B5-754E-AF4F-3F7298B363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26334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Plassholder for tekst 29">
            <a:extLst>
              <a:ext uri="{FF2B5EF4-FFF2-40B4-BE49-F238E27FC236}">
                <a16:creationId xmlns:a16="http://schemas.microsoft.com/office/drawing/2014/main" id="{6A52437B-7CAC-CE4D-885C-B024153FB2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26334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2" name="Plassholder for tekst 29">
            <a:extLst>
              <a:ext uri="{FF2B5EF4-FFF2-40B4-BE49-F238E27FC236}">
                <a16:creationId xmlns:a16="http://schemas.microsoft.com/office/drawing/2014/main" id="{006CAC39-5C96-C244-BA46-065E019385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26334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45" name="Plassholder for bilde 5">
            <a:extLst>
              <a:ext uri="{FF2B5EF4-FFF2-40B4-BE49-F238E27FC236}">
                <a16:creationId xmlns:a16="http://schemas.microsoft.com/office/drawing/2014/main" id="{E555D74C-6955-7F47-ADAA-C6ED83DB00D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1927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6" name="Plassholder for tekst 29">
            <a:extLst>
              <a:ext uri="{FF2B5EF4-FFF2-40B4-BE49-F238E27FC236}">
                <a16:creationId xmlns:a16="http://schemas.microsoft.com/office/drawing/2014/main" id="{F82E7DD7-B26C-BA40-8E18-61B26814726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19267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Plassholder for tekst 29">
            <a:extLst>
              <a:ext uri="{FF2B5EF4-FFF2-40B4-BE49-F238E27FC236}">
                <a16:creationId xmlns:a16="http://schemas.microsoft.com/office/drawing/2014/main" id="{C7F737FD-235C-1849-83D4-06BDC9828C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19267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8" name="Plassholder for tekst 29">
            <a:extLst>
              <a:ext uri="{FF2B5EF4-FFF2-40B4-BE49-F238E27FC236}">
                <a16:creationId xmlns:a16="http://schemas.microsoft.com/office/drawing/2014/main" id="{F392D149-80E1-7540-AFFF-0303A3F0E6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9267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1" name="Plassholder for bilde 5">
            <a:extLst>
              <a:ext uri="{FF2B5EF4-FFF2-40B4-BE49-F238E27FC236}">
                <a16:creationId xmlns:a16="http://schemas.microsoft.com/office/drawing/2014/main" id="{E149B48A-456A-2845-8EDE-CA6015EAA8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1220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2" name="Plassholder for tekst 29">
            <a:extLst>
              <a:ext uri="{FF2B5EF4-FFF2-40B4-BE49-F238E27FC236}">
                <a16:creationId xmlns:a16="http://schemas.microsoft.com/office/drawing/2014/main" id="{8BBDE235-D234-884D-A9B3-DEEE4FDA07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12199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3" name="Plassholder for tekst 29">
            <a:extLst>
              <a:ext uri="{FF2B5EF4-FFF2-40B4-BE49-F238E27FC236}">
                <a16:creationId xmlns:a16="http://schemas.microsoft.com/office/drawing/2014/main" id="{3C86E898-6675-9A4B-9B2B-AC37B638F36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2199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54" name="Plassholder for tekst 29">
            <a:extLst>
              <a:ext uri="{FF2B5EF4-FFF2-40B4-BE49-F238E27FC236}">
                <a16:creationId xmlns:a16="http://schemas.microsoft.com/office/drawing/2014/main" id="{2E8CCFD1-66A7-E149-B045-934DE5A116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2199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7" name="Plassholder for bilde 5">
            <a:extLst>
              <a:ext uri="{FF2B5EF4-FFF2-40B4-BE49-F238E27FC236}">
                <a16:creationId xmlns:a16="http://schemas.microsoft.com/office/drawing/2014/main" id="{32FD0D63-CBF3-0247-826A-53F7B8457AE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0514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8" name="Plassholder for tekst 29">
            <a:extLst>
              <a:ext uri="{FF2B5EF4-FFF2-40B4-BE49-F238E27FC236}">
                <a16:creationId xmlns:a16="http://schemas.microsoft.com/office/drawing/2014/main" id="{8244C0D0-B447-364F-AD7E-829EA1AB2C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105128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9" name="Plassholder for tekst 29">
            <a:extLst>
              <a:ext uri="{FF2B5EF4-FFF2-40B4-BE49-F238E27FC236}">
                <a16:creationId xmlns:a16="http://schemas.microsoft.com/office/drawing/2014/main" id="{6D63F879-14EF-9A48-9712-21BBBB54781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05128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0" name="Plassholder for tekst 29">
            <a:extLst>
              <a:ext uri="{FF2B5EF4-FFF2-40B4-BE49-F238E27FC236}">
                <a16:creationId xmlns:a16="http://schemas.microsoft.com/office/drawing/2014/main" id="{88F82980-3B21-D34A-AF1F-75CB65A974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05128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3" name="Plassholder for bilde 5">
            <a:extLst>
              <a:ext uri="{FF2B5EF4-FFF2-40B4-BE49-F238E27FC236}">
                <a16:creationId xmlns:a16="http://schemas.microsoft.com/office/drawing/2014/main" id="{A8F5D8CD-9CC3-304F-AC71-F7D7C7D9A56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998076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4" name="Plassholder for tekst 29">
            <a:extLst>
              <a:ext uri="{FF2B5EF4-FFF2-40B4-BE49-F238E27FC236}">
                <a16:creationId xmlns:a16="http://schemas.microsoft.com/office/drawing/2014/main" id="{C6D3F3AC-E770-A845-8FBB-EF4E76A0BA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98076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5" name="Plassholder for tekst 29">
            <a:extLst>
              <a:ext uri="{FF2B5EF4-FFF2-40B4-BE49-F238E27FC236}">
                <a16:creationId xmlns:a16="http://schemas.microsoft.com/office/drawing/2014/main" id="{8DC60941-BE57-CB42-8EC1-4E93C9082B3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98076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6" name="Plassholder for tekst 29">
            <a:extLst>
              <a:ext uri="{FF2B5EF4-FFF2-40B4-BE49-F238E27FC236}">
                <a16:creationId xmlns:a16="http://schemas.microsoft.com/office/drawing/2014/main" id="{580077CD-82F7-0F43-B1AE-AB9A2B9A0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98076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9" name="Plassholder for bilde 5">
            <a:extLst>
              <a:ext uri="{FF2B5EF4-FFF2-40B4-BE49-F238E27FC236}">
                <a16:creationId xmlns:a16="http://schemas.microsoft.com/office/drawing/2014/main" id="{BEC60C22-6789-C149-8F53-BD9A22992E4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3340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0" name="Plassholder for tekst 29">
            <a:extLst>
              <a:ext uri="{FF2B5EF4-FFF2-40B4-BE49-F238E27FC236}">
                <a16:creationId xmlns:a16="http://schemas.microsoft.com/office/drawing/2014/main" id="{777A5458-44E0-854C-9450-DE7D278309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3400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1" name="Plassholder for tekst 29">
            <a:extLst>
              <a:ext uri="{FF2B5EF4-FFF2-40B4-BE49-F238E27FC236}">
                <a16:creationId xmlns:a16="http://schemas.microsoft.com/office/drawing/2014/main" id="{D87F24F9-02BB-3B40-AC63-DDEA55E5056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33400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2" name="Plassholder for tekst 29">
            <a:extLst>
              <a:ext uri="{FF2B5EF4-FFF2-40B4-BE49-F238E27FC236}">
                <a16:creationId xmlns:a16="http://schemas.microsoft.com/office/drawing/2014/main" id="{E3891B74-C144-F647-9F6A-88B4FB4629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33400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5" name="Plassholder for bilde 5">
            <a:extLst>
              <a:ext uri="{FF2B5EF4-FFF2-40B4-BE49-F238E27FC236}">
                <a16:creationId xmlns:a16="http://schemas.microsoft.com/office/drawing/2014/main" id="{41F2453F-1837-E04D-912E-245AB200BB7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42633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6" name="Plassholder for tekst 29">
            <a:extLst>
              <a:ext uri="{FF2B5EF4-FFF2-40B4-BE49-F238E27FC236}">
                <a16:creationId xmlns:a16="http://schemas.microsoft.com/office/drawing/2014/main" id="{EBA33246-23BD-5B45-AA53-A913495F948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426334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7" name="Plassholder for tekst 29">
            <a:extLst>
              <a:ext uri="{FF2B5EF4-FFF2-40B4-BE49-F238E27FC236}">
                <a16:creationId xmlns:a16="http://schemas.microsoft.com/office/drawing/2014/main" id="{D3F7A8C3-9DC7-E848-83EF-F0E36DDE85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26334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8" name="Plassholder for tekst 29">
            <a:extLst>
              <a:ext uri="{FF2B5EF4-FFF2-40B4-BE49-F238E27FC236}">
                <a16:creationId xmlns:a16="http://schemas.microsoft.com/office/drawing/2014/main" id="{781FF7A4-D72C-BF49-8535-3E85AD50A3D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426334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1" name="Plassholder for bilde 5">
            <a:extLst>
              <a:ext uri="{FF2B5EF4-FFF2-40B4-BE49-F238E27FC236}">
                <a16:creationId xmlns:a16="http://schemas.microsoft.com/office/drawing/2014/main" id="{BA86B9DD-66C5-174C-92BB-C725E47C7D37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1927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2" name="Plassholder for tekst 29">
            <a:extLst>
              <a:ext uri="{FF2B5EF4-FFF2-40B4-BE49-F238E27FC236}">
                <a16:creationId xmlns:a16="http://schemas.microsoft.com/office/drawing/2014/main" id="{A10DC0C7-3D88-C44D-B6E4-12D5F68D78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319267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3" name="Plassholder for tekst 29">
            <a:extLst>
              <a:ext uri="{FF2B5EF4-FFF2-40B4-BE49-F238E27FC236}">
                <a16:creationId xmlns:a16="http://schemas.microsoft.com/office/drawing/2014/main" id="{43E78351-A9BA-8B48-9BD5-F064F389B74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19267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4" name="Plassholder for tekst 29">
            <a:extLst>
              <a:ext uri="{FF2B5EF4-FFF2-40B4-BE49-F238E27FC236}">
                <a16:creationId xmlns:a16="http://schemas.microsoft.com/office/drawing/2014/main" id="{56956FD0-54E3-6143-93FE-7B03ECD745A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19267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7" name="Plassholder for bilde 5">
            <a:extLst>
              <a:ext uri="{FF2B5EF4-FFF2-40B4-BE49-F238E27FC236}">
                <a16:creationId xmlns:a16="http://schemas.microsoft.com/office/drawing/2014/main" id="{B18DDB92-B9CB-BE4D-ABA7-E97DDD2D026C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621220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8" name="Plassholder for tekst 29">
            <a:extLst>
              <a:ext uri="{FF2B5EF4-FFF2-40B4-BE49-F238E27FC236}">
                <a16:creationId xmlns:a16="http://schemas.microsoft.com/office/drawing/2014/main" id="{CC23D3A1-C464-9D41-91E5-CB109A040C0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212199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9" name="Plassholder for tekst 29">
            <a:extLst>
              <a:ext uri="{FF2B5EF4-FFF2-40B4-BE49-F238E27FC236}">
                <a16:creationId xmlns:a16="http://schemas.microsoft.com/office/drawing/2014/main" id="{932B09A9-BDE2-9949-9E26-011E5C8DE61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12199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0" name="Plassholder for tekst 29">
            <a:extLst>
              <a:ext uri="{FF2B5EF4-FFF2-40B4-BE49-F238E27FC236}">
                <a16:creationId xmlns:a16="http://schemas.microsoft.com/office/drawing/2014/main" id="{C2747A3A-C218-9B47-8D8C-15DBCD84A99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2199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3" name="Plassholder for bilde 5">
            <a:extLst>
              <a:ext uri="{FF2B5EF4-FFF2-40B4-BE49-F238E27FC236}">
                <a16:creationId xmlns:a16="http://schemas.microsoft.com/office/drawing/2014/main" id="{C603C6DA-265E-0846-A123-77ABF62757E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810514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4" name="Plassholder for tekst 29">
            <a:extLst>
              <a:ext uri="{FF2B5EF4-FFF2-40B4-BE49-F238E27FC236}">
                <a16:creationId xmlns:a16="http://schemas.microsoft.com/office/drawing/2014/main" id="{44B979E2-48FD-AC4E-B66C-79206AE6230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105128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5" name="Plassholder for tekst 29">
            <a:extLst>
              <a:ext uri="{FF2B5EF4-FFF2-40B4-BE49-F238E27FC236}">
                <a16:creationId xmlns:a16="http://schemas.microsoft.com/office/drawing/2014/main" id="{BD82B775-BF04-E543-9333-4D140E5E162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05128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6" name="Plassholder for tekst 29">
            <a:extLst>
              <a:ext uri="{FF2B5EF4-FFF2-40B4-BE49-F238E27FC236}">
                <a16:creationId xmlns:a16="http://schemas.microsoft.com/office/drawing/2014/main" id="{443F3A2F-DE0F-2849-8F3E-69A4E42D56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05128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9" name="Plassholder for bilde 5">
            <a:extLst>
              <a:ext uri="{FF2B5EF4-FFF2-40B4-BE49-F238E27FC236}">
                <a16:creationId xmlns:a16="http://schemas.microsoft.com/office/drawing/2014/main" id="{1204D9F2-9AF9-E540-92B8-08BA17E4C00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998076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00" name="Plassholder for tekst 29">
            <a:extLst>
              <a:ext uri="{FF2B5EF4-FFF2-40B4-BE49-F238E27FC236}">
                <a16:creationId xmlns:a16="http://schemas.microsoft.com/office/drawing/2014/main" id="{883C2FD0-0EB1-CB4F-84F8-522689EBE2B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9998076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1" name="Plassholder for tekst 29">
            <a:extLst>
              <a:ext uri="{FF2B5EF4-FFF2-40B4-BE49-F238E27FC236}">
                <a16:creationId xmlns:a16="http://schemas.microsoft.com/office/drawing/2014/main" id="{FC75D5FC-AFA3-0345-8A3B-7B02E531F0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998076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102" name="Plassholder for tekst 29">
            <a:extLst>
              <a:ext uri="{FF2B5EF4-FFF2-40B4-BE49-F238E27FC236}">
                <a16:creationId xmlns:a16="http://schemas.microsoft.com/office/drawing/2014/main" id="{C91E21A9-51C1-CC48-858B-3B75041DF36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98076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5" name="Plassholder for dato 3">
            <a:extLst>
              <a:ext uri="{FF2B5EF4-FFF2-40B4-BE49-F238E27FC236}">
                <a16:creationId xmlns:a16="http://schemas.microsoft.com/office/drawing/2014/main" id="{FF401711-5771-E348-B884-4494C15535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56" name="Plassholder for bunntekst 4">
            <a:extLst>
              <a:ext uri="{FF2B5EF4-FFF2-40B4-BE49-F238E27FC236}">
                <a16:creationId xmlns:a16="http://schemas.microsoft.com/office/drawing/2014/main" id="{B4D6C75C-1A1B-A34D-A089-D65B6B6192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61" name="Plassholder for lysbildenummer 5">
            <a:extLst>
              <a:ext uri="{FF2B5EF4-FFF2-40B4-BE49-F238E27FC236}">
                <a16:creationId xmlns:a16="http://schemas.microsoft.com/office/drawing/2014/main" id="{62072BB7-75F3-4C45-A4FC-90BE55839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44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5400" b="1">
                <a:solidFill>
                  <a:srgbClr val="0085C0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6762BAF8-3152-9949-A56A-A5A1EE864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bunntekst 4">
            <a:extLst>
              <a:ext uri="{FF2B5EF4-FFF2-40B4-BE49-F238E27FC236}">
                <a16:creationId xmlns:a16="http://schemas.microsoft.com/office/drawing/2014/main" id="{2F5D33DF-151F-8C44-BE69-22D4DBDB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1511340-35CB-2D49-A578-472198643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6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2FF212A1-0EA6-4842-B71C-3B7C1DF5D7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44717428-D91F-214C-AF9F-7D4D877D4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278163" y="750887"/>
            <a:ext cx="4359800" cy="6107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93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6751417D-366D-B143-B31C-C73D41ED7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DE9C3F96-76FA-0F47-AD15-ECE16BD696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DF0D807-F9C3-DF43-9BB0-34DE90CD4A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2B334FB-FF4A-5E4F-8B82-4F7AA6118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806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EBB92826-BA27-4C49-B3E0-BE6A934E05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3673888A-BCCE-1D4E-AFF7-B5653A81B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61F5AA2-5D29-3345-A3DD-65737A9056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3EBECE2-BEAB-1141-9F28-663B0C0919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833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76E25B0E-2728-384B-8A49-85C1E119C5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A38E396D-E5A4-4749-BB0E-2CD8C6E53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0959ECA-CEEA-514E-9333-D54056F6D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C30A7E8-E3FA-5345-9EC5-FC002C5EA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156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639BB181-5361-0549-95AA-E8D5F2ECE1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57D11602-5F7A-484B-B659-33C6039CC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524E66A8-337A-3442-B197-501BCA5548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3537D87F-9CDB-3743-9790-3ADBED139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5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E79DD916-2AFD-0042-A062-3DF84E6EAA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DF7D2294-8285-EB4C-8FC9-10E306C333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E467120E-4C46-C84E-B9CC-7D85C232D6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FEA34F2D-7D05-4B4E-B4C7-515183E925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2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 lyseblå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A0BC74E1-5CDF-5142-A7EF-A67FC8EA8B85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4" y="1717675"/>
            <a:ext cx="6964363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4" y="2476894"/>
            <a:ext cx="6964363" cy="347305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424C2C66-B4EF-CA45-9EB9-E4586F52A88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12045" y="1717675"/>
            <a:ext cx="3317408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774B19EF-5681-0545-BB92-34D2FCE4346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2046" y="2476894"/>
            <a:ext cx="3317408" cy="3473056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ittel 1">
            <a:extLst>
              <a:ext uri="{FF2B5EF4-FFF2-40B4-BE49-F238E27FC236}">
                <a16:creationId xmlns:a16="http://schemas.microsoft.com/office/drawing/2014/main" id="{F849F286-9522-0646-9DE3-D32E129FB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CA468E9D-E235-064F-A185-148548D280F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8" name="Plassholder for bunntekst 4">
            <a:extLst>
              <a:ext uri="{FF2B5EF4-FFF2-40B4-BE49-F238E27FC236}">
                <a16:creationId xmlns:a16="http://schemas.microsoft.com/office/drawing/2014/main" id="{FDB1A09E-D868-104A-96D0-CF2DEB27E0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0" name="Plassholder for lysbildenummer 5">
            <a:extLst>
              <a:ext uri="{FF2B5EF4-FFF2-40B4-BE49-F238E27FC236}">
                <a16:creationId xmlns:a16="http://schemas.microsoft.com/office/drawing/2014/main" id="{A6E38C66-DB73-4E4F-A7B8-74AF750877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B496756-72A7-9845-9F89-587C35D446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85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61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751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0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989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17B58E9-A9EB-484E-8AC8-2EF5F7AAB9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78056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4BA9353F-8264-164C-AE3D-312E24007D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4631" y="895488"/>
            <a:ext cx="5977370" cy="506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56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med teks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0"/>
          </p:nvPr>
        </p:nvSpPr>
        <p:spPr>
          <a:xfrm>
            <a:off x="533400" y="4320540"/>
            <a:ext cx="11098213" cy="1620203"/>
          </a:xfrm>
          <a:noFill/>
        </p:spPr>
        <p:txBody>
          <a:bodyPr/>
          <a:lstStyle>
            <a:lvl1pPr marL="0" indent="0" algn="ctr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A977DA6F-4A81-6A4E-A8C5-893DEFD2F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8722" y="1723328"/>
            <a:ext cx="4142206" cy="991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85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9435C06D-6B4A-4F64-97D2-2A45F4B3B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333" y="6156770"/>
            <a:ext cx="909918" cy="356617"/>
          </a:xfrm>
          <a:prstGeom prst="rect">
            <a:avLst/>
          </a:prstGeom>
        </p:spPr>
      </p:pic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79E28BA1-4BA5-4AEB-A7CE-8449E470305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6E57979-1462-449A-895B-13092213837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9997B939-209C-4074-9AD5-3A86278954A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79440" y="6446580"/>
            <a:ext cx="308811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75151" y="675083"/>
            <a:ext cx="11072465" cy="5265659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912010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104784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2242999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17883CC0-F2C9-489A-9B24-F758D7733E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524179" y="2074437"/>
            <a:ext cx="5677020" cy="1478157"/>
          </a:xfrm>
        </p:spPr>
        <p:txBody>
          <a:bodyPr anchor="t">
            <a:normAutofit/>
          </a:bodyPr>
          <a:lstStyle>
            <a:lvl1pPr algn="r">
              <a:defRPr sz="5300" cap="none" baseline="0">
                <a:latin typeface="Riks Normal" panose="000005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5524179" y="1513911"/>
            <a:ext cx="5677020" cy="410599"/>
          </a:xfrm>
        </p:spPr>
        <p:txBody>
          <a:bodyPr anchor="b">
            <a:normAutofit/>
          </a:bodyPr>
          <a:lstStyle>
            <a:lvl1pPr marL="0" indent="0" algn="r">
              <a:buNone/>
              <a:defRPr sz="2600" cap="all" spc="606" baseline="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nb-NO"/>
              <a:t>Kundenavn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89DCDB6F-DC23-40CA-A866-AAD74F1B86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24179" y="3809150"/>
            <a:ext cx="5677020" cy="186636"/>
          </a:xfrm>
        </p:spPr>
        <p:txBody>
          <a:bodyPr>
            <a:normAutofit/>
          </a:bodyPr>
          <a:lstStyle>
            <a:lvl1pPr marL="0" indent="0" algn="r">
              <a:buNone/>
              <a:defRPr b="1" cap="all" baseline="0">
                <a:solidFill>
                  <a:schemeClr val="accent2"/>
                </a:solidFill>
                <a:latin typeface="Book Antiqua" panose="02040602050305030304" pitchFamily="18" charset="0"/>
              </a:defRPr>
            </a:lvl1pPr>
          </a:lstStyle>
          <a:p>
            <a:pPr lvl="0"/>
            <a:r>
              <a:rPr lang="nb-NO"/>
              <a:t>Sted / dato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32B7F67B-800F-4821-A947-9846F1E426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1400" y="5239220"/>
            <a:ext cx="635223" cy="1262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9232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F9C385C-E5CD-9D40-BEC9-E93C6E88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6" y="855134"/>
            <a:ext cx="5435437" cy="539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4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F4A1C61-652D-114F-A26E-3D2C5E745B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096000" y="908050"/>
            <a:ext cx="5685916" cy="5597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12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0813AE6D-BAA0-F142-B866-3FE65B8C40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75257" y="441325"/>
            <a:ext cx="4274978" cy="61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54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AE684261-8284-5344-8D40-D1B7A5E7EF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5" y="972842"/>
            <a:ext cx="5972175" cy="52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559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D4B3E861-BC0B-E748-809B-7D68B7719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9817"/>
          <a:stretch/>
        </p:blipFill>
        <p:spPr>
          <a:xfrm>
            <a:off x="5937250" y="1114536"/>
            <a:ext cx="6254750" cy="4863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34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Legg inn en kort tittel – helst kun en linj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D0F5BF39-16BA-C14F-A7C3-3AACD48A4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CFC9BE17-CD97-254A-87EF-4AFCD966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57D44CF1-7BE2-D64B-B435-1D19949FB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609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62BE4A22-B6AD-4FC1-9625-43ABD6E47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049" y="698531"/>
            <a:ext cx="6402092" cy="5611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8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61EA22B-B4C8-43F7-99D4-821F001722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704" y="255373"/>
            <a:ext cx="7559984" cy="661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51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C9C785B-9292-4BE0-9E39-27A1287C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62571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490B0379-688F-4E70-A696-9FA14899D3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2383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C0FD7CC5-8B90-40F0-8735-D0A3A680D4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65870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53DAF888-1B6E-4DBC-BF0A-3C494541DC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55454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62BA8A5-3146-415E-AE15-7DB28B4408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0499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0004E9F1-B900-420C-8235-422B9E42EF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6407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DB32BACC-57B2-461A-B8FC-ADE80343BC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5550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CFF39C27-CE4B-4CE2-B6F4-75ECE47AB3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990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533400" y="1717675"/>
            <a:ext cx="5400675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219826" y="1717675"/>
            <a:ext cx="5418138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5DF6D4A3-153B-0D4B-A2FC-9B63721F8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8F9FC4B3-4FF2-604D-9DE9-1EE7BED47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41789D31-829C-9542-98AE-CA8FB67F89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EEE34A35-CBC4-EF4E-A052-9167A47EB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2634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6B91BA4A-1CFD-4926-B729-794A6E1335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05933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8D3EB75-2D50-455A-B761-0DD2573ABF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7596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6E5751D-6E83-4D37-9592-F6FEC43524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3113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D1FDE68-DCE8-4552-91E8-5AA25A19D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1867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9889F-4FD6-FF47-9C0D-8696C4F10B88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134136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A44AC-9971-CE4D-A74E-A52F9A049E0D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899086-4487-B847-AE96-5F4058E435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" name="Plassholder for bilde 7">
            <a:extLst>
              <a:ext uri="{FF2B5EF4-FFF2-40B4-BE49-F238E27FC236}">
                <a16:creationId xmlns:a16="http://schemas.microsoft.com/office/drawing/2014/main" id="{53BC9DDF-E16E-2340-8B9C-18EDE0B08D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3811612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2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24000" y="0"/>
            <a:ext cx="4068000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357580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AF2B2-3904-434B-8FB4-A8C95A987E46}" type="datetime1">
              <a:rPr lang="nb-NO" smtClean="0"/>
              <a:t>26.10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7">
            <a:extLst>
              <a:ext uri="{FF2B5EF4-FFF2-40B4-BE49-F238E27FC236}">
                <a16:creationId xmlns:a16="http://schemas.microsoft.com/office/drawing/2014/main" id="{1B818442-90E5-DB45-8CEF-9924BF4FCC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4" name="Plassholder for bilde 7">
            <a:extLst>
              <a:ext uri="{FF2B5EF4-FFF2-40B4-BE49-F238E27FC236}">
                <a16:creationId xmlns:a16="http://schemas.microsoft.com/office/drawing/2014/main" id="{77E96149-2C64-F846-B2A1-E51A688055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50282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5" name="Plassholder for bilde 7">
            <a:extLst>
              <a:ext uri="{FF2B5EF4-FFF2-40B4-BE49-F238E27FC236}">
                <a16:creationId xmlns:a16="http://schemas.microsoft.com/office/drawing/2014/main" id="{2F571D5D-EFA8-2949-A1E7-BAFCFC24B93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00564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62336E37-D479-3B41-9185-4DF7AFDC8FF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0846" y="0"/>
            <a:ext cx="3041154" cy="6858000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bIns="900000"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</p:spTree>
    <p:extLst>
      <p:ext uri="{BB962C8B-B14F-4D97-AF65-F5344CB8AC3E}">
        <p14:creationId xmlns:p14="http://schemas.microsoft.com/office/powerpoint/2010/main" val="425655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4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399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399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399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7" name="Plassholder for bilde 5">
            <a:extLst>
              <a:ext uri="{FF2B5EF4-FFF2-40B4-BE49-F238E27FC236}">
                <a16:creationId xmlns:a16="http://schemas.microsoft.com/office/drawing/2014/main" id="{59271FB1-264F-D44B-9172-C2EFFE89DD3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371468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8" name="Plassholder for tekst 29">
            <a:extLst>
              <a:ext uri="{FF2B5EF4-FFF2-40B4-BE49-F238E27FC236}">
                <a16:creationId xmlns:a16="http://schemas.microsoft.com/office/drawing/2014/main" id="{B5BF182E-7E5B-574A-89A7-BDBC9F9D6FB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71467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3" name="Plassholder for tekst 29">
            <a:extLst>
              <a:ext uri="{FF2B5EF4-FFF2-40B4-BE49-F238E27FC236}">
                <a16:creationId xmlns:a16="http://schemas.microsoft.com/office/drawing/2014/main" id="{9B5C325E-BF08-274F-BB44-A63181BB339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1467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4" name="Plassholder for tekst 29">
            <a:extLst>
              <a:ext uri="{FF2B5EF4-FFF2-40B4-BE49-F238E27FC236}">
                <a16:creationId xmlns:a16="http://schemas.microsoft.com/office/drawing/2014/main" id="{4FD8B1C3-1D73-7847-A87E-7754165822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71467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9" name="Plassholder for bilde 5">
            <a:extLst>
              <a:ext uri="{FF2B5EF4-FFF2-40B4-BE49-F238E27FC236}">
                <a16:creationId xmlns:a16="http://schemas.microsoft.com/office/drawing/2014/main" id="{AB8F2C20-F305-9F4E-9521-4170F4EA444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09536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0" name="Plassholder for tekst 29">
            <a:extLst>
              <a:ext uri="{FF2B5EF4-FFF2-40B4-BE49-F238E27FC236}">
                <a16:creationId xmlns:a16="http://schemas.microsoft.com/office/drawing/2014/main" id="{FDD45BB0-FF53-F54F-A166-DC2274D25A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09534" y="4584480"/>
            <a:ext cx="2590361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5" name="Plassholder for tekst 29">
            <a:extLst>
              <a:ext uri="{FF2B5EF4-FFF2-40B4-BE49-F238E27FC236}">
                <a16:creationId xmlns:a16="http://schemas.microsoft.com/office/drawing/2014/main" id="{D68344EF-1ECE-124A-A5FF-0594577B00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9534" y="4584480"/>
            <a:ext cx="2590361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6" name="Plassholder for tekst 29">
            <a:extLst>
              <a:ext uri="{FF2B5EF4-FFF2-40B4-BE49-F238E27FC236}">
                <a16:creationId xmlns:a16="http://schemas.microsoft.com/office/drawing/2014/main" id="{228FCD1A-4C65-1F42-BEF5-20303008A8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9534" y="4954817"/>
            <a:ext cx="2590361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1" name="Plassholder for bilde 5">
            <a:extLst>
              <a:ext uri="{FF2B5EF4-FFF2-40B4-BE49-F238E27FC236}">
                <a16:creationId xmlns:a16="http://schemas.microsoft.com/office/drawing/2014/main" id="{38E67570-BD86-BE47-A7A6-3F97EE83918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047603" y="1717674"/>
            <a:ext cx="2590360" cy="3568481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2" name="Plassholder for tekst 29">
            <a:extLst>
              <a:ext uri="{FF2B5EF4-FFF2-40B4-BE49-F238E27FC236}">
                <a16:creationId xmlns:a16="http://schemas.microsoft.com/office/drawing/2014/main" id="{5B835929-7B37-BE4A-B019-F68E678F75A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47602" y="4584480"/>
            <a:ext cx="2590360" cy="701675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7" name="Plassholder for tekst 29">
            <a:extLst>
              <a:ext uri="{FF2B5EF4-FFF2-40B4-BE49-F238E27FC236}">
                <a16:creationId xmlns:a16="http://schemas.microsoft.com/office/drawing/2014/main" id="{1F32A157-741D-C74E-961F-DBC5FE42987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47602" y="4584480"/>
            <a:ext cx="2590360" cy="333509"/>
          </a:xfrm>
        </p:spPr>
        <p:txBody>
          <a:bodyPr lIns="108000" tIns="54000" rIns="108000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8" name="Plassholder for tekst 29">
            <a:extLst>
              <a:ext uri="{FF2B5EF4-FFF2-40B4-BE49-F238E27FC236}">
                <a16:creationId xmlns:a16="http://schemas.microsoft.com/office/drawing/2014/main" id="{EC08704F-EBB2-2D45-9B11-2390F952A9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47602" y="4954817"/>
            <a:ext cx="2590360" cy="222681"/>
          </a:xfrm>
        </p:spPr>
        <p:txBody>
          <a:bodyPr lIns="108000" tIns="0" rIns="108000" bIns="3600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22" name="Plassholder for dato 3">
            <a:extLst>
              <a:ext uri="{FF2B5EF4-FFF2-40B4-BE49-F238E27FC236}">
                <a16:creationId xmlns:a16="http://schemas.microsoft.com/office/drawing/2014/main" id="{6148CBC5-69D6-DD4C-8E83-BBA57F6226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23" name="Plassholder for bunntekst 4">
            <a:extLst>
              <a:ext uri="{FF2B5EF4-FFF2-40B4-BE49-F238E27FC236}">
                <a16:creationId xmlns:a16="http://schemas.microsoft.com/office/drawing/2014/main" id="{F47CF354-EBEE-3143-A63C-33B8EC99E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4" name="Plassholder for lysbildenummer 5">
            <a:extLst>
              <a:ext uri="{FF2B5EF4-FFF2-40B4-BE49-F238E27FC236}">
                <a16:creationId xmlns:a16="http://schemas.microsoft.com/office/drawing/2014/main" id="{0C46C896-3D45-4346-A58D-57F15205A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464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12 ansatt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BC792911-5001-504A-8394-EC1BEE2193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340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41325"/>
            <a:ext cx="11122025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3" name="Plassholder for tekst 29">
            <a:extLst>
              <a:ext uri="{FF2B5EF4-FFF2-40B4-BE49-F238E27FC236}">
                <a16:creationId xmlns:a16="http://schemas.microsoft.com/office/drawing/2014/main" id="{5AF29111-88F4-D443-BC0C-21E7D9B3964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3400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lassholder for tekst 29">
            <a:extLst>
              <a:ext uri="{FF2B5EF4-FFF2-40B4-BE49-F238E27FC236}">
                <a16:creationId xmlns:a16="http://schemas.microsoft.com/office/drawing/2014/main" id="{59388E8B-34B3-0641-B8E4-625015A72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400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791498A5-47FD-E94A-8903-2E7EB8BEA3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25872"/>
            <a:ext cx="1639888" cy="170638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39" name="Plassholder for bilde 5">
            <a:extLst>
              <a:ext uri="{FF2B5EF4-FFF2-40B4-BE49-F238E27FC236}">
                <a16:creationId xmlns:a16="http://schemas.microsoft.com/office/drawing/2014/main" id="{C1527520-8AF8-4A4D-B56C-7257F0CA534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42633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0" name="Plassholder for tekst 29">
            <a:extLst>
              <a:ext uri="{FF2B5EF4-FFF2-40B4-BE49-F238E27FC236}">
                <a16:creationId xmlns:a16="http://schemas.microsoft.com/office/drawing/2014/main" id="{1B88A589-A5B5-754E-AF4F-3F7298B363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26334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Plassholder for tekst 29">
            <a:extLst>
              <a:ext uri="{FF2B5EF4-FFF2-40B4-BE49-F238E27FC236}">
                <a16:creationId xmlns:a16="http://schemas.microsoft.com/office/drawing/2014/main" id="{6A52437B-7CAC-CE4D-885C-B024153FB2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26334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2" name="Plassholder for tekst 29">
            <a:extLst>
              <a:ext uri="{FF2B5EF4-FFF2-40B4-BE49-F238E27FC236}">
                <a16:creationId xmlns:a16="http://schemas.microsoft.com/office/drawing/2014/main" id="{006CAC39-5C96-C244-BA46-065E0193855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426334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45" name="Plassholder for bilde 5">
            <a:extLst>
              <a:ext uri="{FF2B5EF4-FFF2-40B4-BE49-F238E27FC236}">
                <a16:creationId xmlns:a16="http://schemas.microsoft.com/office/drawing/2014/main" id="{E555D74C-6955-7F47-ADAA-C6ED83DB00D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1927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46" name="Plassholder for tekst 29">
            <a:extLst>
              <a:ext uri="{FF2B5EF4-FFF2-40B4-BE49-F238E27FC236}">
                <a16:creationId xmlns:a16="http://schemas.microsoft.com/office/drawing/2014/main" id="{F82E7DD7-B26C-BA40-8E18-61B26814726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19267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Plassholder for tekst 29">
            <a:extLst>
              <a:ext uri="{FF2B5EF4-FFF2-40B4-BE49-F238E27FC236}">
                <a16:creationId xmlns:a16="http://schemas.microsoft.com/office/drawing/2014/main" id="{C7F737FD-235C-1849-83D4-06BDC9828C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19267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48" name="Plassholder for tekst 29">
            <a:extLst>
              <a:ext uri="{FF2B5EF4-FFF2-40B4-BE49-F238E27FC236}">
                <a16:creationId xmlns:a16="http://schemas.microsoft.com/office/drawing/2014/main" id="{F392D149-80E1-7540-AFFF-0303A3F0E6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19267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1" name="Plassholder for bilde 5">
            <a:extLst>
              <a:ext uri="{FF2B5EF4-FFF2-40B4-BE49-F238E27FC236}">
                <a16:creationId xmlns:a16="http://schemas.microsoft.com/office/drawing/2014/main" id="{E149B48A-456A-2845-8EDE-CA6015EAA8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12205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2" name="Plassholder for tekst 29">
            <a:extLst>
              <a:ext uri="{FF2B5EF4-FFF2-40B4-BE49-F238E27FC236}">
                <a16:creationId xmlns:a16="http://schemas.microsoft.com/office/drawing/2014/main" id="{8BBDE235-D234-884D-A9B3-DEEE4FDA07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12199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3" name="Plassholder for tekst 29">
            <a:extLst>
              <a:ext uri="{FF2B5EF4-FFF2-40B4-BE49-F238E27FC236}">
                <a16:creationId xmlns:a16="http://schemas.microsoft.com/office/drawing/2014/main" id="{3C86E898-6675-9A4B-9B2B-AC37B638F36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2199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54" name="Plassholder for tekst 29">
            <a:extLst>
              <a:ext uri="{FF2B5EF4-FFF2-40B4-BE49-F238E27FC236}">
                <a16:creationId xmlns:a16="http://schemas.microsoft.com/office/drawing/2014/main" id="{2E8CCFD1-66A7-E149-B045-934DE5A116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2199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7" name="Plassholder for bilde 5">
            <a:extLst>
              <a:ext uri="{FF2B5EF4-FFF2-40B4-BE49-F238E27FC236}">
                <a16:creationId xmlns:a16="http://schemas.microsoft.com/office/drawing/2014/main" id="{32FD0D63-CBF3-0247-826A-53F7B8457AE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05140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58" name="Plassholder for tekst 29">
            <a:extLst>
              <a:ext uri="{FF2B5EF4-FFF2-40B4-BE49-F238E27FC236}">
                <a16:creationId xmlns:a16="http://schemas.microsoft.com/office/drawing/2014/main" id="{8244C0D0-B447-364F-AD7E-829EA1AB2C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105128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9" name="Plassholder for tekst 29">
            <a:extLst>
              <a:ext uri="{FF2B5EF4-FFF2-40B4-BE49-F238E27FC236}">
                <a16:creationId xmlns:a16="http://schemas.microsoft.com/office/drawing/2014/main" id="{6D63F879-14EF-9A48-9712-21BBBB54781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05128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0" name="Plassholder for tekst 29">
            <a:extLst>
              <a:ext uri="{FF2B5EF4-FFF2-40B4-BE49-F238E27FC236}">
                <a16:creationId xmlns:a16="http://schemas.microsoft.com/office/drawing/2014/main" id="{88F82980-3B21-D34A-AF1F-75CB65A974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05128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3" name="Plassholder for bilde 5">
            <a:extLst>
              <a:ext uri="{FF2B5EF4-FFF2-40B4-BE49-F238E27FC236}">
                <a16:creationId xmlns:a16="http://schemas.microsoft.com/office/drawing/2014/main" id="{A8F5D8CD-9CC3-304F-AC71-F7D7C7D9A56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998076" y="171767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64" name="Plassholder for tekst 29">
            <a:extLst>
              <a:ext uri="{FF2B5EF4-FFF2-40B4-BE49-F238E27FC236}">
                <a16:creationId xmlns:a16="http://schemas.microsoft.com/office/drawing/2014/main" id="{C6D3F3AC-E770-A845-8FBB-EF4E76A0BA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98076" y="328567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5" name="Plassholder for tekst 29">
            <a:extLst>
              <a:ext uri="{FF2B5EF4-FFF2-40B4-BE49-F238E27FC236}">
                <a16:creationId xmlns:a16="http://schemas.microsoft.com/office/drawing/2014/main" id="{8DC60941-BE57-CB42-8EC1-4E93C9082B3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98076" y="328567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66" name="Plassholder for tekst 29">
            <a:extLst>
              <a:ext uri="{FF2B5EF4-FFF2-40B4-BE49-F238E27FC236}">
                <a16:creationId xmlns:a16="http://schemas.microsoft.com/office/drawing/2014/main" id="{580077CD-82F7-0F43-B1AE-AB9A2B9A0D3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98076" y="352587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69" name="Plassholder for bilde 5">
            <a:extLst>
              <a:ext uri="{FF2B5EF4-FFF2-40B4-BE49-F238E27FC236}">
                <a16:creationId xmlns:a16="http://schemas.microsoft.com/office/drawing/2014/main" id="{BEC60C22-6789-C149-8F53-BD9A22992E4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3340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0" name="Plassholder for tekst 29">
            <a:extLst>
              <a:ext uri="{FF2B5EF4-FFF2-40B4-BE49-F238E27FC236}">
                <a16:creationId xmlns:a16="http://schemas.microsoft.com/office/drawing/2014/main" id="{777A5458-44E0-854C-9450-DE7D2783096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3400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1" name="Plassholder for tekst 29">
            <a:extLst>
              <a:ext uri="{FF2B5EF4-FFF2-40B4-BE49-F238E27FC236}">
                <a16:creationId xmlns:a16="http://schemas.microsoft.com/office/drawing/2014/main" id="{D87F24F9-02BB-3B40-AC63-DDEA55E5056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33400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2" name="Plassholder for tekst 29">
            <a:extLst>
              <a:ext uri="{FF2B5EF4-FFF2-40B4-BE49-F238E27FC236}">
                <a16:creationId xmlns:a16="http://schemas.microsoft.com/office/drawing/2014/main" id="{E3891B74-C144-F647-9F6A-88B4FB4629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33400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75" name="Plassholder for bilde 5">
            <a:extLst>
              <a:ext uri="{FF2B5EF4-FFF2-40B4-BE49-F238E27FC236}">
                <a16:creationId xmlns:a16="http://schemas.microsoft.com/office/drawing/2014/main" id="{41F2453F-1837-E04D-912E-245AB200BB70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42633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76" name="Plassholder for tekst 29">
            <a:extLst>
              <a:ext uri="{FF2B5EF4-FFF2-40B4-BE49-F238E27FC236}">
                <a16:creationId xmlns:a16="http://schemas.microsoft.com/office/drawing/2014/main" id="{EBA33246-23BD-5B45-AA53-A913495F948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426334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7" name="Plassholder for tekst 29">
            <a:extLst>
              <a:ext uri="{FF2B5EF4-FFF2-40B4-BE49-F238E27FC236}">
                <a16:creationId xmlns:a16="http://schemas.microsoft.com/office/drawing/2014/main" id="{D3F7A8C3-9DC7-E848-83EF-F0E36DDE85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26334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78" name="Plassholder for tekst 29">
            <a:extLst>
              <a:ext uri="{FF2B5EF4-FFF2-40B4-BE49-F238E27FC236}">
                <a16:creationId xmlns:a16="http://schemas.microsoft.com/office/drawing/2014/main" id="{781FF7A4-D72C-BF49-8535-3E85AD50A3D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426334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1" name="Plassholder for bilde 5">
            <a:extLst>
              <a:ext uri="{FF2B5EF4-FFF2-40B4-BE49-F238E27FC236}">
                <a16:creationId xmlns:a16="http://schemas.microsoft.com/office/drawing/2014/main" id="{BA86B9DD-66C5-174C-92BB-C725E47C7D37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1927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2" name="Plassholder for tekst 29">
            <a:extLst>
              <a:ext uri="{FF2B5EF4-FFF2-40B4-BE49-F238E27FC236}">
                <a16:creationId xmlns:a16="http://schemas.microsoft.com/office/drawing/2014/main" id="{A10DC0C7-3D88-C44D-B6E4-12D5F68D78C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319267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3" name="Plassholder for tekst 29">
            <a:extLst>
              <a:ext uri="{FF2B5EF4-FFF2-40B4-BE49-F238E27FC236}">
                <a16:creationId xmlns:a16="http://schemas.microsoft.com/office/drawing/2014/main" id="{43E78351-A9BA-8B48-9BD5-F064F389B74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19267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84" name="Plassholder for tekst 29">
            <a:extLst>
              <a:ext uri="{FF2B5EF4-FFF2-40B4-BE49-F238E27FC236}">
                <a16:creationId xmlns:a16="http://schemas.microsoft.com/office/drawing/2014/main" id="{56956FD0-54E3-6143-93FE-7B03ECD745A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19267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87" name="Plassholder for bilde 5">
            <a:extLst>
              <a:ext uri="{FF2B5EF4-FFF2-40B4-BE49-F238E27FC236}">
                <a16:creationId xmlns:a16="http://schemas.microsoft.com/office/drawing/2014/main" id="{B18DDB92-B9CB-BE4D-ABA7-E97DDD2D026C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6212205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88" name="Plassholder for tekst 29">
            <a:extLst>
              <a:ext uri="{FF2B5EF4-FFF2-40B4-BE49-F238E27FC236}">
                <a16:creationId xmlns:a16="http://schemas.microsoft.com/office/drawing/2014/main" id="{CC23D3A1-C464-9D41-91E5-CB109A040C0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212199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9" name="Plassholder for tekst 29">
            <a:extLst>
              <a:ext uri="{FF2B5EF4-FFF2-40B4-BE49-F238E27FC236}">
                <a16:creationId xmlns:a16="http://schemas.microsoft.com/office/drawing/2014/main" id="{932B09A9-BDE2-9949-9E26-011E5C8DE61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12199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0" name="Plassholder for tekst 29">
            <a:extLst>
              <a:ext uri="{FF2B5EF4-FFF2-40B4-BE49-F238E27FC236}">
                <a16:creationId xmlns:a16="http://schemas.microsoft.com/office/drawing/2014/main" id="{C2747A3A-C218-9B47-8D8C-15DBCD84A99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12199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3" name="Plassholder for bilde 5">
            <a:extLst>
              <a:ext uri="{FF2B5EF4-FFF2-40B4-BE49-F238E27FC236}">
                <a16:creationId xmlns:a16="http://schemas.microsoft.com/office/drawing/2014/main" id="{C603C6DA-265E-0846-A123-77ABF62757E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8105140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94" name="Plassholder for tekst 29">
            <a:extLst>
              <a:ext uri="{FF2B5EF4-FFF2-40B4-BE49-F238E27FC236}">
                <a16:creationId xmlns:a16="http://schemas.microsoft.com/office/drawing/2014/main" id="{44B979E2-48FD-AC4E-B66C-79206AE6230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8105128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5" name="Plassholder for tekst 29">
            <a:extLst>
              <a:ext uri="{FF2B5EF4-FFF2-40B4-BE49-F238E27FC236}">
                <a16:creationId xmlns:a16="http://schemas.microsoft.com/office/drawing/2014/main" id="{BD82B775-BF04-E543-9333-4D140E5E162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105128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96" name="Plassholder for tekst 29">
            <a:extLst>
              <a:ext uri="{FF2B5EF4-FFF2-40B4-BE49-F238E27FC236}">
                <a16:creationId xmlns:a16="http://schemas.microsoft.com/office/drawing/2014/main" id="{443F3A2F-DE0F-2849-8F3E-69A4E42D56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05128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99" name="Plassholder for bilde 5">
            <a:extLst>
              <a:ext uri="{FF2B5EF4-FFF2-40B4-BE49-F238E27FC236}">
                <a16:creationId xmlns:a16="http://schemas.microsoft.com/office/drawing/2014/main" id="{1204D9F2-9AF9-E540-92B8-08BA17E4C00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998076" y="3971115"/>
            <a:ext cx="1639887" cy="1978835"/>
          </a:xfrm>
          <a:pattFill prst="pct2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bilde ikonet </a:t>
            </a:r>
            <a:br>
              <a:rPr lang="nb-NO"/>
            </a:br>
            <a:r>
              <a:rPr lang="nb-NO"/>
              <a:t>for å plassere et bilde</a:t>
            </a:r>
          </a:p>
        </p:txBody>
      </p:sp>
      <p:sp>
        <p:nvSpPr>
          <p:cNvPr id="100" name="Plassholder for tekst 29">
            <a:extLst>
              <a:ext uri="{FF2B5EF4-FFF2-40B4-BE49-F238E27FC236}">
                <a16:creationId xmlns:a16="http://schemas.microsoft.com/office/drawing/2014/main" id="{883C2FD0-0EB1-CB4F-84F8-522689EBE2B0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9998076" y="5539115"/>
            <a:ext cx="1639888" cy="410836"/>
          </a:xfrm>
          <a:solidFill>
            <a:schemeClr val="accent1">
              <a:alpha val="75000"/>
            </a:schemeClr>
          </a:solidFill>
        </p:spPr>
        <p:txBody>
          <a:bodyPr lIns="72000" tIns="36000" rIns="72000"/>
          <a:lstStyle>
            <a:lvl1pPr marL="0" indent="0">
              <a:buNone/>
              <a:defRPr sz="1050" b="1">
                <a:noFill/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1" name="Plassholder for tekst 29">
            <a:extLst>
              <a:ext uri="{FF2B5EF4-FFF2-40B4-BE49-F238E27FC236}">
                <a16:creationId xmlns:a16="http://schemas.microsoft.com/office/drawing/2014/main" id="{FC75D5FC-AFA3-0345-8A3B-7B02E531F0F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998076" y="5539115"/>
            <a:ext cx="1639888" cy="170639"/>
          </a:xfrm>
        </p:spPr>
        <p:txBody>
          <a:bodyPr lIns="72000" tIns="36000" rIns="72000"/>
          <a:lstStyle>
            <a:lvl1pPr marL="0" indent="0">
              <a:buNone/>
              <a:defRPr sz="1100" b="1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</p:txBody>
      </p:sp>
      <p:sp>
        <p:nvSpPr>
          <p:cNvPr id="102" name="Plassholder for tekst 29">
            <a:extLst>
              <a:ext uri="{FF2B5EF4-FFF2-40B4-BE49-F238E27FC236}">
                <a16:creationId xmlns:a16="http://schemas.microsoft.com/office/drawing/2014/main" id="{C91E21A9-51C1-CC48-858B-3B75041DF36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98076" y="5779311"/>
            <a:ext cx="1639888" cy="170639"/>
          </a:xfrm>
        </p:spPr>
        <p:txBody>
          <a:bodyPr lIns="72000" tIns="0" rIns="72000" bIns="36000"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216000" indent="0">
              <a:buNone/>
              <a:defRPr sz="1100"/>
            </a:lvl2pPr>
            <a:lvl3pPr marL="432000" indent="0">
              <a:buNone/>
              <a:defRPr sz="1000"/>
            </a:lvl3pPr>
            <a:lvl4pPr marL="648000" indent="0">
              <a:buNone/>
              <a:defRPr sz="900"/>
            </a:lvl4pPr>
            <a:lvl5pPr marL="864000" indent="0">
              <a:buNone/>
              <a:defRPr sz="800"/>
            </a:lvl5pPr>
          </a:lstStyle>
          <a:p>
            <a:pPr lvl="0"/>
            <a:r>
              <a:rPr lang="nb-NO"/>
              <a:t>Jobbtittel</a:t>
            </a:r>
          </a:p>
        </p:txBody>
      </p:sp>
      <p:sp>
        <p:nvSpPr>
          <p:cNvPr id="55" name="Plassholder for dato 3">
            <a:extLst>
              <a:ext uri="{FF2B5EF4-FFF2-40B4-BE49-F238E27FC236}">
                <a16:creationId xmlns:a16="http://schemas.microsoft.com/office/drawing/2014/main" id="{FF401711-5771-E348-B884-4494C15535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56" name="Plassholder for bunntekst 4">
            <a:extLst>
              <a:ext uri="{FF2B5EF4-FFF2-40B4-BE49-F238E27FC236}">
                <a16:creationId xmlns:a16="http://schemas.microsoft.com/office/drawing/2014/main" id="{B4D6C75C-1A1B-A34D-A089-D65B6B6192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61" name="Plassholder for lysbildenummer 5">
            <a:extLst>
              <a:ext uri="{FF2B5EF4-FFF2-40B4-BE49-F238E27FC236}">
                <a16:creationId xmlns:a16="http://schemas.microsoft.com/office/drawing/2014/main" id="{62072BB7-75F3-4C45-A4FC-90BE55839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165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5" y="1720800"/>
            <a:ext cx="5397500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5" y="2476894"/>
            <a:ext cx="5397500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19826" y="1720800"/>
            <a:ext cx="5418138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219826" y="2476894"/>
            <a:ext cx="5418138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A3975D18-47A5-3745-AB33-E3C163757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55F7F71D-12F7-7745-B70C-12B83836E2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527FD8C-5D4F-0947-BE64-592B40EC1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972B9C3-07BF-A44F-A9F5-56A1D9C8F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538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5400" b="1">
                <a:solidFill>
                  <a:srgbClr val="0085C0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6762BAF8-3152-9949-A56A-A5A1EE864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bunntekst 4">
            <a:extLst>
              <a:ext uri="{FF2B5EF4-FFF2-40B4-BE49-F238E27FC236}">
                <a16:creationId xmlns:a16="http://schemas.microsoft.com/office/drawing/2014/main" id="{2F5D33DF-151F-8C44-BE69-22D4DBDBAD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648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1511340-35CB-2D49-A578-472198643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542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6751417D-366D-B143-B31C-C73D41ED7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DE9C3F96-76FA-0F47-AD15-ECE16BD696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DF0D807-F9C3-DF43-9BB0-34DE90CD4A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2B334FB-FF4A-5E4F-8B82-4F7AA6118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192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EBB92826-BA27-4C49-B3E0-BE6A934E05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3673888A-BCCE-1D4E-AFF7-B5653A81BF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A61F5AA2-5D29-3345-A3DD-65737A9056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3EBECE2-BEAB-1141-9F28-663B0C0919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309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ide / Uthevet setning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95CAC6E-0E86-A34E-ACB4-A78F9D6AC36E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C73D9938-B73B-3245-B4B8-CA22FBCA2F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575" y="1143000"/>
            <a:ext cx="11101388" cy="384415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én setning eller et sitat</a:t>
            </a:r>
          </a:p>
        </p:txBody>
      </p:sp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76E25B0E-2728-384B-8A49-85C1E119C5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A38E396D-E5A4-4749-BB0E-2CD8C6E53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0959ECA-CEEA-514E-9333-D54056F6D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C30A7E8-E3FA-5345-9EC5-FC002C5EA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75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639BB181-5361-0549-95AA-E8D5F2ECE1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57D11602-5F7A-484B-B659-33C6039CC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524E66A8-337A-3442-B197-501BCA5548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3537D87F-9CDB-3743-9790-3ADBED139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8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E9FBEA8-AC36-194E-A142-222CE95A18F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ittel 1">
            <a:extLst>
              <a:ext uri="{FF2B5EF4-FFF2-40B4-BE49-F238E27FC236}">
                <a16:creationId xmlns:a16="http://schemas.microsoft.com/office/drawing/2014/main" id="{B01FB2A9-4518-1743-8801-5959C00D1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7A692BAB-31A1-DE41-ADFE-C7BE2CF71FA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12150" y="1717675"/>
            <a:ext cx="332581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E79DD916-2AFD-0042-A062-3DF84E6EAA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DF7D2294-8285-EB4C-8FC9-10E306C333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E467120E-4C46-C84E-B9CC-7D85C232D6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FEA34F2D-7D05-4B4E-B4C7-515183E925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1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 lyseblå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A0BC74E1-5CDF-5142-A7EF-A67FC8EA8B85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4" y="1717675"/>
            <a:ext cx="6964363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4" y="2476894"/>
            <a:ext cx="6964363" cy="347305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424C2C66-B4EF-CA45-9EB9-E4586F52A88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12045" y="1717675"/>
            <a:ext cx="3317408" cy="75921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innhold 3">
            <a:extLst>
              <a:ext uri="{FF2B5EF4-FFF2-40B4-BE49-F238E27FC236}">
                <a16:creationId xmlns:a16="http://schemas.microsoft.com/office/drawing/2014/main" id="{774B19EF-5681-0545-BB92-34D2FCE4346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2046" y="2476894"/>
            <a:ext cx="3317408" cy="3473056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ittel 1">
            <a:extLst>
              <a:ext uri="{FF2B5EF4-FFF2-40B4-BE49-F238E27FC236}">
                <a16:creationId xmlns:a16="http://schemas.microsoft.com/office/drawing/2014/main" id="{F849F286-9522-0646-9DE3-D32E129FB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CA468E9D-E235-064F-A185-148548D280F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8" name="Plassholder for bunntekst 4">
            <a:extLst>
              <a:ext uri="{FF2B5EF4-FFF2-40B4-BE49-F238E27FC236}">
                <a16:creationId xmlns:a16="http://schemas.microsoft.com/office/drawing/2014/main" id="{FDB1A09E-D868-104A-96D0-CF2DEB27E0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20" name="Plassholder for lysbildenummer 5">
            <a:extLst>
              <a:ext uri="{FF2B5EF4-FFF2-40B4-BE49-F238E27FC236}">
                <a16:creationId xmlns:a16="http://schemas.microsoft.com/office/drawing/2014/main" id="{A6E38C66-DB73-4E4F-A7B8-74AF750877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B496756-72A7-9845-9F89-587C35D446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74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18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464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838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4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26A62874-6308-9440-A195-D94B2B44AB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DBCA54E-72A5-EA44-A94E-AD8C2B3772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6574EEE3-FFA6-8040-AF04-4232FA57EC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46463D81-5F72-764F-8BEA-3B7DA320C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62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646DE9B0-4E0F-0443-9A07-E72101C5DB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713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med teks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0"/>
          </p:nvPr>
        </p:nvSpPr>
        <p:spPr>
          <a:xfrm>
            <a:off x="533400" y="4320540"/>
            <a:ext cx="11098213" cy="1620203"/>
          </a:xfrm>
          <a:noFill/>
        </p:spPr>
        <p:txBody>
          <a:bodyPr/>
          <a:lstStyle>
            <a:lvl1pPr marL="0" indent="0" algn="ctr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A977DA6F-4A81-6A4E-A8C5-893DEFD2F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8722" y="1723328"/>
            <a:ext cx="4142206" cy="991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5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32642-CB3E-4D8A-B587-B95919178A3B}" type="datetime1">
              <a:rPr lang="nb-NO" smtClean="0"/>
              <a:t>26.10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7D6155-37ED-4876-BFE4-C00C5B1DB3A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innhold 2"/>
          <p:cNvSpPr>
            <a:spLocks noGrp="1"/>
          </p:cNvSpPr>
          <p:nvPr>
            <p:ph idx="1"/>
          </p:nvPr>
        </p:nvSpPr>
        <p:spPr>
          <a:xfrm>
            <a:off x="960000" y="1632000"/>
            <a:ext cx="10752000" cy="429327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783424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4133397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51CB39-2521-42D6-BABA-1C90B0D67E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963890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51CB39-2521-42D6-BABA-1C90B0D67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8C34FD-413D-447B-AC15-7B1BF74ECB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74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5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13EB27-A04A-4460-937D-BC67EFB22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5922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8" y="350554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8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214211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DA3A417-948B-C949-BA96-989B920783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54706645-2291-C945-9646-D500C040A7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891" y="1717675"/>
            <a:ext cx="11122025" cy="179228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5000" cap="all" baseline="0">
                <a:solidFill>
                  <a:schemeClr val="l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A76A37AB-1C33-4E44-84DF-1B0CF9440A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4166148"/>
            <a:ext cx="11122025" cy="1192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b-NO"/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417F7C5C-CD7B-D847-992A-28F61035730A}"/>
              </a:ext>
            </a:extLst>
          </p:cNvPr>
          <p:cNvCxnSpPr/>
          <p:nvPr userDrawn="1"/>
        </p:nvCxnSpPr>
        <p:spPr>
          <a:xfrm>
            <a:off x="4295775" y="3787914"/>
            <a:ext cx="3600450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k 9">
            <a:extLst>
              <a:ext uri="{FF2B5EF4-FFF2-40B4-BE49-F238E27FC236}">
                <a16:creationId xmlns:a16="http://schemas.microsoft.com/office/drawing/2014/main" id="{4D1C685A-36C8-CB41-A23E-6F684397C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9603" y="5949950"/>
            <a:ext cx="2884815" cy="69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76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DA3A417-948B-C949-BA96-989B920783E4}"/>
              </a:ext>
            </a:extLst>
          </p:cNvPr>
          <p:cNvSpPr/>
          <p:nvPr userDrawn="1"/>
        </p:nvSpPr>
        <p:spPr>
          <a:xfrm>
            <a:off x="0" y="-115329"/>
            <a:ext cx="12192000" cy="6858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n>
                <a:solidFill>
                  <a:schemeClr val="tx2"/>
                </a:solidFill>
              </a:ln>
              <a:solidFill>
                <a:schemeClr val="tx2"/>
              </a:solidFill>
            </a:endParaRPr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54706645-2291-C945-9646-D500C040A7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891" y="1717675"/>
            <a:ext cx="11122025" cy="1792287"/>
          </a:xfrm>
          <a:prstGeom prst="rect">
            <a:avLst/>
          </a:prstGeom>
          <a:solidFill>
            <a:srgbClr val="012A4C"/>
          </a:solidFill>
        </p:spPr>
        <p:txBody>
          <a:bodyPr anchor="b">
            <a:noAutofit/>
          </a:bodyPr>
          <a:lstStyle>
            <a:lvl1pPr algn="ctr">
              <a:defRPr sz="5000" cap="all" baseline="0">
                <a:ln>
                  <a:solidFill>
                    <a:srgbClr val="012A4C"/>
                  </a:solidFill>
                </a:ln>
                <a:solidFill>
                  <a:srgbClr val="012A4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A76A37AB-1C33-4E44-84DF-1B0CF9440A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7" y="4166148"/>
            <a:ext cx="11122025" cy="1192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nb-NO"/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417F7C5C-CD7B-D847-992A-28F61035730A}"/>
              </a:ext>
            </a:extLst>
          </p:cNvPr>
          <p:cNvCxnSpPr/>
          <p:nvPr userDrawn="1"/>
        </p:nvCxnSpPr>
        <p:spPr>
          <a:xfrm>
            <a:off x="4295775" y="3787914"/>
            <a:ext cx="3600450" cy="0"/>
          </a:xfrm>
          <a:prstGeom prst="line">
            <a:avLst/>
          </a:prstGeom>
          <a:ln w="28575">
            <a:solidFill>
              <a:srgbClr val="012A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k 9">
            <a:extLst>
              <a:ext uri="{FF2B5EF4-FFF2-40B4-BE49-F238E27FC236}">
                <a16:creationId xmlns:a16="http://schemas.microsoft.com/office/drawing/2014/main" id="{4D1C685A-36C8-CB41-A23E-6F684397C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9603" y="5949950"/>
            <a:ext cx="2884815" cy="69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6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Legg inn en kort tittel – helst kun en linj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D0F5BF39-16BA-C14F-A7C3-3AACD48A4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CFC9BE17-CD97-254A-87EF-4AFCD966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57D44CF1-7BE2-D64B-B435-1D19949FB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005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533400" y="1717675"/>
            <a:ext cx="5400675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219826" y="1717675"/>
            <a:ext cx="5418138" cy="42322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5DF6D4A3-153B-0D4B-A2FC-9B63721F8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8F9FC4B3-4FF2-604D-9DE9-1EE7BED47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41789D31-829C-9542-98AE-CA8FB67F89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EEE34A35-CBC4-EF4E-A052-9167A47EB5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5055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F35EB9DB-4C26-244E-BC21-AD5BFB8E7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B8E3EF76-8518-7040-BA85-615A89CF1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D4B718F1-22E5-F647-A514-CCD78A8EF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567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fi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6575" y="1720800"/>
            <a:ext cx="5397500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536575" y="2476894"/>
            <a:ext cx="5397500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19826" y="1720800"/>
            <a:ext cx="5418138" cy="75609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219826" y="2476894"/>
            <a:ext cx="5418138" cy="34730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A3975D18-47A5-3745-AB33-E3C163757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55F7F71D-12F7-7745-B70C-12B83836E2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527FD8C-5D4F-0947-BE64-592B40EC1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972B9C3-07BF-A44F-A9F5-56A1D9C8F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318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4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26A62874-6308-9440-A195-D94B2B44AB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nb-NO"/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DBCA54E-72A5-EA44-A94E-AD8C2B3772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6574EEE3-FFA6-8040-AF04-4232FA57EC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46463D81-5F72-764F-8BEA-3B7DA320C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895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F35EB9DB-4C26-244E-BC21-AD5BFB8E7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B8E3EF76-8518-7040-BA85-615A89CF1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D4B718F1-22E5-F647-A514-CCD78A8EF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363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3">
            <a:extLst>
              <a:ext uri="{FF2B5EF4-FFF2-40B4-BE49-F238E27FC236}">
                <a16:creationId xmlns:a16="http://schemas.microsoft.com/office/drawing/2014/main" id="{0F3DEFE6-7236-1147-B66B-0A00218222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33585C82-95B9-784F-9F30-783052A860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BEB724ED-4843-7D4D-9564-E29DB4849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28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- logo øv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10" y="441326"/>
            <a:ext cx="821601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dato 3">
            <a:extLst>
              <a:ext uri="{FF2B5EF4-FFF2-40B4-BE49-F238E27FC236}">
                <a16:creationId xmlns:a16="http://schemas.microsoft.com/office/drawing/2014/main" id="{2657246D-430A-1B4E-8CC1-F7E7392EF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F16CF5FB-58D8-D64A-9EDD-82B040CC7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75E02ED9-8603-5A4B-9B1C-2075F3B280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1838" y="473763"/>
            <a:ext cx="1237527" cy="337508"/>
          </a:xfrm>
          <a:prstGeom prst="rect">
            <a:avLst/>
          </a:prstGeom>
        </p:spPr>
      </p:pic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4BAF34F5-A4BF-CA41-B2EA-A70FEB18F6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419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fsid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BB7399-8A32-E74E-97C6-F26FDC3DBA43}"/>
              </a:ext>
            </a:extLst>
          </p:cNvPr>
          <p:cNvSpPr/>
          <p:nvPr userDrawn="1"/>
        </p:nvSpPr>
        <p:spPr>
          <a:xfrm>
            <a:off x="7859713" y="1"/>
            <a:ext cx="4332286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9032A32-43BA-2944-9F87-5FAD86931D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2808" y="1458632"/>
            <a:ext cx="2032000" cy="3810000"/>
          </a:xfrm>
          <a:prstGeom prst="rect">
            <a:avLst/>
          </a:prstGeom>
        </p:spPr>
      </p:pic>
      <p:sp>
        <p:nvSpPr>
          <p:cNvPr id="24" name="Plassholder for tittel 1">
            <a:extLst>
              <a:ext uri="{FF2B5EF4-FFF2-40B4-BE49-F238E27FC236}">
                <a16:creationId xmlns:a16="http://schemas.microsoft.com/office/drawing/2014/main" id="{78F68C35-50F0-4F4B-93AB-B92EC7257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7" y="441325"/>
            <a:ext cx="6964362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15403AB-D38D-2D40-859C-D1A1339E61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5"/>
            <a:ext cx="6964362" cy="42322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dato 3">
            <a:extLst>
              <a:ext uri="{FF2B5EF4-FFF2-40B4-BE49-F238E27FC236}">
                <a16:creationId xmlns:a16="http://schemas.microsoft.com/office/drawing/2014/main" id="{4C396ACB-D58C-9448-A6D5-35550FDA0D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7" name="Plassholder for bunntekst 4">
            <a:extLst>
              <a:ext uri="{FF2B5EF4-FFF2-40B4-BE49-F238E27FC236}">
                <a16:creationId xmlns:a16="http://schemas.microsoft.com/office/drawing/2014/main" id="{CCA88CAF-9C1D-B042-97EC-E3BF4004C5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8" name="Plassholder for lysbildenummer 5">
            <a:extLst>
              <a:ext uri="{FF2B5EF4-FFF2-40B4-BE49-F238E27FC236}">
                <a16:creationId xmlns:a16="http://schemas.microsoft.com/office/drawing/2014/main" id="{8383E26C-831F-9B49-A190-29C2D7134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9EDE06E8-D1DC-1647-B8E6-8D4239E0E2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66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DC49616E-436E-5242-901E-9DF41FB7FB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nb-NO"/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1FB4ACCB-1FD3-684B-8D1C-EA5BAB6F8A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2ED0D117-0FEA-254B-AB69-27AE45B34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6361A72-19F1-2348-ABF9-47D0CA94CD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378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5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8CBDB767-2F98-F741-8B4B-6270682816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nb-NO"/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3541152E-E6AF-484B-9556-D1162F1F8A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98DB621D-792D-DE45-B3DC-4E12A00F23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80960108-5B6F-8546-9846-503004921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440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ilde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E550E5F-85F2-F04E-A03F-581BD673D848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0" name="Plassholder for tittel 1">
            <a:extLst>
              <a:ext uri="{FF2B5EF4-FFF2-40B4-BE49-F238E27FC236}">
                <a16:creationId xmlns:a16="http://schemas.microsoft.com/office/drawing/2014/main" id="{84D0C8D3-4838-3E4C-AA8E-9E97892930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69643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C2E91CC3-1E10-574A-B830-0F3A54AC64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6574" y="1717675"/>
            <a:ext cx="6964363" cy="42322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B3C8451E-8686-2548-A7BF-B0A2D8060C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59713" y="0"/>
            <a:ext cx="4332287" cy="6858000"/>
          </a:xfrm>
          <a:pattFill prst="pct10">
            <a:fgClr>
              <a:schemeClr val="bg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nb-NO"/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BB8898EE-10A5-E24D-9D82-3B0FAACAE7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1A1E22FB-2E2F-C443-9472-4B66CF8E3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512670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A4D1876-F45D-5E48-AA91-CDCC9F1F1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02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CB0AC0F0-9CB0-9F48-8756-4FCF565D9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34D59302-6EFA-FF47-9E2F-43F163B50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AB87EC4F-EA12-D146-9120-CC8AFDED3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5862734A-9309-BB4A-B821-18A757AA43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0800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3">
            <a:extLst>
              <a:ext uri="{FF2B5EF4-FFF2-40B4-BE49-F238E27FC236}">
                <a16:creationId xmlns:a16="http://schemas.microsoft.com/office/drawing/2014/main" id="{0F3DEFE6-7236-1147-B66B-0A00218222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33585C82-95B9-784F-9F30-783052A860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1" y="6425654"/>
            <a:ext cx="756000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r>
              <a:rPr lang="nb-NO"/>
              <a:t>Tekst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BEB724ED-4843-7D4D-9564-E29DB4849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511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7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E9D6F75E-BD52-B647-93BA-BFF630D9D3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9617E5D9-2935-F041-B220-728361B2F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AC384330-5A1D-8347-A4AC-AD1A1FCF5F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06D46D29-639B-4D41-A88F-26F2ED5244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912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 mørk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61C8599-B2C2-A24E-B600-92FB78C6BB50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6" y="441326"/>
            <a:ext cx="11101388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92F1234-6FEE-1F4A-8B52-47231479F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56260909-39D7-6747-BB04-8D8CBC779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DCB3168E-DD6D-3B43-92C0-2D92CF281C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6BB8971F-1819-4448-B145-635547F441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070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2FB5D1DB-BDCA-6741-A7AC-F407FFCC51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D9602153-E0EE-E24D-BC07-26F36D2990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092FC343-A27D-BD46-9817-DD0BA174AD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F89DDDB-0F47-2F4E-BDA6-F24E09A60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401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75" y="441325"/>
            <a:ext cx="11101388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504EA9F6-7045-FC41-A423-D38EDC4DA7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FAF80B36-C8D1-3B40-8394-672E64AA9C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BB4ABD11-86EC-6C4A-B6A8-05EDC96E6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E18018CD-3FA5-704E-A024-FDD3008AD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630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E8BFC0C-3EEB-1B45-AEDB-525021824DB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216644BE-F210-1644-AF3E-AF9CCF22C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41325"/>
            <a:ext cx="11104563" cy="701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10" name="Plassholder for dato 3">
            <a:extLst>
              <a:ext uri="{FF2B5EF4-FFF2-40B4-BE49-F238E27FC236}">
                <a16:creationId xmlns:a16="http://schemas.microsoft.com/office/drawing/2014/main" id="{84503C4B-BE11-EA4B-85B8-6A31738B7F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2" name="Plassholder for lysbildenummer 5">
            <a:extLst>
              <a:ext uri="{FF2B5EF4-FFF2-40B4-BE49-F238E27FC236}">
                <a16:creationId xmlns:a16="http://schemas.microsoft.com/office/drawing/2014/main" id="{76CAB6C9-385C-3444-AFF4-59E1B99014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AC5E61-E36B-1B4F-809B-2A24F3739F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0CFC72B8-0F18-844E-B480-172914ABCA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510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rgbClr val="0085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07CFE3C0-C378-2A46-AE28-0A940DDBFD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8996A273-7B08-E345-96CD-5C981E2F2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7680AE4-57B0-4C46-86F7-BCC15311D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4841690D-F17D-CE43-8C03-A7D32092CC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643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jø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72FE8602-FA90-B247-A046-E8E7EBE6E2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596CC03D-23CA-4942-AC34-E1115C999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0CD8D416-89DE-D841-ADAC-2460E48EA1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34196D88-A6B4-0A41-8DCA-57C21557FC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704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 smørk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817AC83-703F-1A4B-9717-AC1106ADC6AF}"/>
              </a:ext>
            </a:extLst>
          </p:cNvPr>
          <p:cNvSpPr/>
          <p:nvPr userDrawn="1"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6AB1B9B9-7AF3-A04C-99EF-F5BAFC0164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9E47B28B-B525-7E4A-B6FB-5A6DAAAC0446}" type="datetime1">
              <a:rPr lang="nb-NO" smtClean="0"/>
              <a:pPr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31474979-FC08-784D-AB55-FADC08A91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C32CF89C-389F-F243-94A8-6A636F138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4811" y="6267196"/>
            <a:ext cx="1251712" cy="341376"/>
          </a:xfrm>
          <a:prstGeom prst="rect">
            <a:avLst/>
          </a:prstGeom>
        </p:spPr>
      </p:pic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9EA4CB3E-CC11-8F4A-9655-BD36DC240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64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2FF212A1-0EA6-4842-B71C-3B7C1DF5D7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44717428-D91F-214C-AF9F-7D4D877D40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278163" y="750887"/>
            <a:ext cx="4359800" cy="6107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39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17B58E9-A9EB-484E-8AC8-2EF5F7AAB9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7921A168-9B9B-0E47-8CF2-0961B560AC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78056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4BA9353F-8264-164C-AE3D-312E24007D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4631" y="895488"/>
            <a:ext cx="5977370" cy="5067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63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- logo øv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867357C6-26C0-BB41-9C55-EBD7C95FE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210" y="441326"/>
            <a:ext cx="8216017" cy="701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89CB1D5-242F-6546-9EAC-02E139E42D7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6575" y="1717676"/>
            <a:ext cx="11101388" cy="42322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dato 3">
            <a:extLst>
              <a:ext uri="{FF2B5EF4-FFF2-40B4-BE49-F238E27FC236}">
                <a16:creationId xmlns:a16="http://schemas.microsoft.com/office/drawing/2014/main" id="{2657246D-430A-1B4E-8CC1-F7E7392EF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F16CF5FB-58D8-D64A-9EDD-82B040CC7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75E02ED9-8603-5A4B-9B1C-2075F3B280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1838" y="473763"/>
            <a:ext cx="1237527" cy="337508"/>
          </a:xfrm>
          <a:prstGeom prst="rect">
            <a:avLst/>
          </a:prstGeom>
        </p:spPr>
      </p:pic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4BAF34F5-A4BF-CA41-B2EA-A70FEB18F6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885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F9C385C-E5CD-9D40-BEC9-E93C6E88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6" y="855134"/>
            <a:ext cx="5435437" cy="539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71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6A4E797-D2E3-A14B-AB79-39BD9813FC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836CD3A-7113-DA47-B254-8C907B799F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F4A1C61-652D-114F-A26E-3D2C5E745B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096000" y="908050"/>
            <a:ext cx="5685916" cy="5597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66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0813AE6D-BAA0-F142-B866-3FE65B8C40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75257" y="441325"/>
            <a:ext cx="4274978" cy="61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56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CEC109D5-1624-E548-912E-04F5359A6B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99D24068-BE2D-F645-A905-69AFD0CED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5" y="1143000"/>
            <a:ext cx="5683250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AE684261-8284-5344-8D40-D1B7A5E7EF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19825" y="972842"/>
            <a:ext cx="5972175" cy="529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89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D4B3E861-BC0B-E748-809B-7D68B7719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9817"/>
          <a:stretch/>
        </p:blipFill>
        <p:spPr>
          <a:xfrm>
            <a:off x="5937250" y="1114536"/>
            <a:ext cx="6254750" cy="4863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82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62BE4A22-B6AD-4FC1-9625-43ABD6E47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049" y="698531"/>
            <a:ext cx="6402092" cy="5611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4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047CAE5-A228-8542-96AC-C65BFED533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61EA22B-B4C8-43F7-99D4-821F001722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704" y="255373"/>
            <a:ext cx="7559984" cy="661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5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C9C785B-9292-4BE0-9E39-27A1287C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310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490B0379-688F-4E70-A696-9FA14899D3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397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killear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C0FD7CC5-8B90-40F0-8735-D0A3A680D4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topp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9780" y="720090"/>
            <a:ext cx="2552130" cy="498788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5EA7A7D6-3F70-5142-8729-4F9CE35BD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574" y="1143000"/>
            <a:ext cx="5683251" cy="48069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95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7.xml"/><Relationship Id="rId47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15.xml"/><Relationship Id="rId55" Type="http://schemas.openxmlformats.org/officeDocument/2006/relationships/slideLayout" Target="../slideLayouts/slideLayout120.xml"/><Relationship Id="rId63" Type="http://schemas.openxmlformats.org/officeDocument/2006/relationships/slideLayout" Target="../slideLayouts/slideLayout128.xml"/><Relationship Id="rId68" Type="http://schemas.openxmlformats.org/officeDocument/2006/relationships/image" Target="../media/image1.png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slideLayout" Target="../slideLayouts/slideLayout110.xml"/><Relationship Id="rId53" Type="http://schemas.openxmlformats.org/officeDocument/2006/relationships/slideLayout" Target="../slideLayouts/slideLayout118.xml"/><Relationship Id="rId58" Type="http://schemas.openxmlformats.org/officeDocument/2006/relationships/slideLayout" Target="../slideLayouts/slideLayout123.xml"/><Relationship Id="rId66" Type="http://schemas.openxmlformats.org/officeDocument/2006/relationships/oleObject" Target="../embeddings/oleObject2.bin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14.xml"/><Relationship Id="rId57" Type="http://schemas.openxmlformats.org/officeDocument/2006/relationships/slideLayout" Target="../slideLayouts/slideLayout122.xml"/><Relationship Id="rId61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109.xml"/><Relationship Id="rId52" Type="http://schemas.openxmlformats.org/officeDocument/2006/relationships/slideLayout" Target="../slideLayouts/slideLayout117.xml"/><Relationship Id="rId60" Type="http://schemas.openxmlformats.org/officeDocument/2006/relationships/slideLayout" Target="../slideLayouts/slideLayout125.xml"/><Relationship Id="rId65" Type="http://schemas.openxmlformats.org/officeDocument/2006/relationships/tags" Target="../tags/tag3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slideLayout" Target="../slideLayouts/slideLayout113.xml"/><Relationship Id="rId56" Type="http://schemas.openxmlformats.org/officeDocument/2006/relationships/slideLayout" Target="../slideLayouts/slideLayout121.xml"/><Relationship Id="rId64" Type="http://schemas.openxmlformats.org/officeDocument/2006/relationships/theme" Target="../theme/theme2.xml"/><Relationship Id="rId69" Type="http://schemas.openxmlformats.org/officeDocument/2006/relationships/image" Target="../media/image2.png"/><Relationship Id="rId8" Type="http://schemas.openxmlformats.org/officeDocument/2006/relationships/slideLayout" Target="../slideLayouts/slideLayout73.xml"/><Relationship Id="rId51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11.xml"/><Relationship Id="rId59" Type="http://schemas.openxmlformats.org/officeDocument/2006/relationships/slideLayout" Target="../slideLayouts/slideLayout124.xml"/><Relationship Id="rId67" Type="http://schemas.openxmlformats.org/officeDocument/2006/relationships/image" Target="../media/image40.emf"/><Relationship Id="rId2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106.xml"/><Relationship Id="rId54" Type="http://schemas.openxmlformats.org/officeDocument/2006/relationships/slideLayout" Target="../slideLayouts/slideLayout119.xml"/><Relationship Id="rId62" Type="http://schemas.openxmlformats.org/officeDocument/2006/relationships/slideLayout" Target="../slideLayouts/slideLayout127.xml"/><Relationship Id="rId70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9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49.xml"/><Relationship Id="rId34" Type="http://schemas.openxmlformats.org/officeDocument/2006/relationships/slideLayout" Target="../slideLayouts/slideLayout162.xml"/><Relationship Id="rId42" Type="http://schemas.openxmlformats.org/officeDocument/2006/relationships/slideLayout" Target="../slideLayouts/slideLayout170.xml"/><Relationship Id="rId47" Type="http://schemas.openxmlformats.org/officeDocument/2006/relationships/slideLayout" Target="../slideLayouts/slideLayout175.xml"/><Relationship Id="rId50" Type="http://schemas.openxmlformats.org/officeDocument/2006/relationships/slideLayout" Target="../slideLayouts/slideLayout178.xml"/><Relationship Id="rId55" Type="http://schemas.openxmlformats.org/officeDocument/2006/relationships/theme" Target="../theme/theme3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33" Type="http://schemas.openxmlformats.org/officeDocument/2006/relationships/slideLayout" Target="../slideLayouts/slideLayout161.xml"/><Relationship Id="rId38" Type="http://schemas.openxmlformats.org/officeDocument/2006/relationships/slideLayout" Target="../slideLayouts/slideLayout166.xml"/><Relationship Id="rId46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69.xml"/><Relationship Id="rId54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slideLayout" Target="../slideLayouts/slideLayout160.xml"/><Relationship Id="rId37" Type="http://schemas.openxmlformats.org/officeDocument/2006/relationships/slideLayout" Target="../slideLayouts/slideLayout165.xml"/><Relationship Id="rId40" Type="http://schemas.openxmlformats.org/officeDocument/2006/relationships/slideLayout" Target="../slideLayouts/slideLayout168.xml"/><Relationship Id="rId45" Type="http://schemas.openxmlformats.org/officeDocument/2006/relationships/slideLayout" Target="../slideLayouts/slideLayout173.xml"/><Relationship Id="rId53" Type="http://schemas.openxmlformats.org/officeDocument/2006/relationships/slideLayout" Target="../slideLayouts/slideLayout181.xml"/><Relationship Id="rId58" Type="http://schemas.openxmlformats.org/officeDocument/2006/relationships/image" Target="../media/image3.svg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36" Type="http://schemas.openxmlformats.org/officeDocument/2006/relationships/slideLayout" Target="../slideLayouts/slideLayout164.xml"/><Relationship Id="rId49" Type="http://schemas.openxmlformats.org/officeDocument/2006/relationships/slideLayout" Target="../slideLayouts/slideLayout177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59.xml"/><Relationship Id="rId44" Type="http://schemas.openxmlformats.org/officeDocument/2006/relationships/slideLayout" Target="../slideLayouts/slideLayout172.xml"/><Relationship Id="rId52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slideLayout" Target="../slideLayouts/slideLayout158.xml"/><Relationship Id="rId35" Type="http://schemas.openxmlformats.org/officeDocument/2006/relationships/slideLayout" Target="../slideLayouts/slideLayout163.xml"/><Relationship Id="rId43" Type="http://schemas.openxmlformats.org/officeDocument/2006/relationships/slideLayout" Target="../slideLayouts/slideLayout171.xml"/><Relationship Id="rId48" Type="http://schemas.openxmlformats.org/officeDocument/2006/relationships/slideLayout" Target="../slideLayouts/slideLayout176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136.xml"/><Relationship Id="rId51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3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5.xml"/><Relationship Id="rId18" Type="http://schemas.openxmlformats.org/officeDocument/2006/relationships/slideLayout" Target="../slideLayouts/slideLayout200.xml"/><Relationship Id="rId26" Type="http://schemas.openxmlformats.org/officeDocument/2006/relationships/slideLayout" Target="../slideLayouts/slideLayout208.xml"/><Relationship Id="rId39" Type="http://schemas.openxmlformats.org/officeDocument/2006/relationships/slideLayout" Target="../slideLayouts/slideLayout221.xml"/><Relationship Id="rId21" Type="http://schemas.openxmlformats.org/officeDocument/2006/relationships/slideLayout" Target="../slideLayouts/slideLayout203.xml"/><Relationship Id="rId34" Type="http://schemas.openxmlformats.org/officeDocument/2006/relationships/slideLayout" Target="../slideLayouts/slideLayout216.xml"/><Relationship Id="rId42" Type="http://schemas.openxmlformats.org/officeDocument/2006/relationships/slideLayout" Target="../slideLayouts/slideLayout224.xml"/><Relationship Id="rId47" Type="http://schemas.openxmlformats.org/officeDocument/2006/relationships/slideLayout" Target="../slideLayouts/slideLayout229.xml"/><Relationship Id="rId50" Type="http://schemas.openxmlformats.org/officeDocument/2006/relationships/slideLayout" Target="../slideLayouts/slideLayout232.xml"/><Relationship Id="rId55" Type="http://schemas.openxmlformats.org/officeDocument/2006/relationships/slideLayout" Target="../slideLayouts/slideLayout237.xml"/><Relationship Id="rId63" Type="http://schemas.openxmlformats.org/officeDocument/2006/relationships/theme" Target="../theme/theme4.xml"/><Relationship Id="rId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98.xml"/><Relationship Id="rId20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1.xml"/><Relationship Id="rId41" Type="http://schemas.openxmlformats.org/officeDocument/2006/relationships/slideLayout" Target="../slideLayouts/slideLayout223.xml"/><Relationship Id="rId54" Type="http://schemas.openxmlformats.org/officeDocument/2006/relationships/slideLayout" Target="../slideLayouts/slideLayout236.xml"/><Relationship Id="rId62" Type="http://schemas.openxmlformats.org/officeDocument/2006/relationships/slideLayout" Target="../slideLayouts/slideLayout24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24" Type="http://schemas.openxmlformats.org/officeDocument/2006/relationships/slideLayout" Target="../slideLayouts/slideLayout206.xml"/><Relationship Id="rId32" Type="http://schemas.openxmlformats.org/officeDocument/2006/relationships/slideLayout" Target="../slideLayouts/slideLayout214.xml"/><Relationship Id="rId37" Type="http://schemas.openxmlformats.org/officeDocument/2006/relationships/slideLayout" Target="../slideLayouts/slideLayout219.xml"/><Relationship Id="rId40" Type="http://schemas.openxmlformats.org/officeDocument/2006/relationships/slideLayout" Target="../slideLayouts/slideLayout222.xml"/><Relationship Id="rId45" Type="http://schemas.openxmlformats.org/officeDocument/2006/relationships/slideLayout" Target="../slideLayouts/slideLayout227.xml"/><Relationship Id="rId53" Type="http://schemas.openxmlformats.org/officeDocument/2006/relationships/slideLayout" Target="../slideLayouts/slideLayout235.xml"/><Relationship Id="rId58" Type="http://schemas.openxmlformats.org/officeDocument/2006/relationships/slideLayout" Target="../slideLayouts/slideLayout240.xml"/><Relationship Id="rId66" Type="http://schemas.openxmlformats.org/officeDocument/2006/relationships/image" Target="../media/image3.svg"/><Relationship Id="rId5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7.xml"/><Relationship Id="rId23" Type="http://schemas.openxmlformats.org/officeDocument/2006/relationships/slideLayout" Target="../slideLayouts/slideLayout205.xml"/><Relationship Id="rId28" Type="http://schemas.openxmlformats.org/officeDocument/2006/relationships/slideLayout" Target="../slideLayouts/slideLayout210.xml"/><Relationship Id="rId36" Type="http://schemas.openxmlformats.org/officeDocument/2006/relationships/slideLayout" Target="../slideLayouts/slideLayout218.xml"/><Relationship Id="rId49" Type="http://schemas.openxmlformats.org/officeDocument/2006/relationships/slideLayout" Target="../slideLayouts/slideLayout231.xml"/><Relationship Id="rId57" Type="http://schemas.openxmlformats.org/officeDocument/2006/relationships/slideLayout" Target="../slideLayouts/slideLayout239.xml"/><Relationship Id="rId61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201.xml"/><Relationship Id="rId31" Type="http://schemas.openxmlformats.org/officeDocument/2006/relationships/slideLayout" Target="../slideLayouts/slideLayout213.xml"/><Relationship Id="rId44" Type="http://schemas.openxmlformats.org/officeDocument/2006/relationships/slideLayout" Target="../slideLayouts/slideLayout226.xml"/><Relationship Id="rId52" Type="http://schemas.openxmlformats.org/officeDocument/2006/relationships/slideLayout" Target="../slideLayouts/slideLayout234.xml"/><Relationship Id="rId60" Type="http://schemas.openxmlformats.org/officeDocument/2006/relationships/slideLayout" Target="../slideLayouts/slideLayout242.xml"/><Relationship Id="rId65" Type="http://schemas.openxmlformats.org/officeDocument/2006/relationships/image" Target="../media/image2.png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Relationship Id="rId22" Type="http://schemas.openxmlformats.org/officeDocument/2006/relationships/slideLayout" Target="../slideLayouts/slideLayout204.xml"/><Relationship Id="rId27" Type="http://schemas.openxmlformats.org/officeDocument/2006/relationships/slideLayout" Target="../slideLayouts/slideLayout209.xml"/><Relationship Id="rId30" Type="http://schemas.openxmlformats.org/officeDocument/2006/relationships/slideLayout" Target="../slideLayouts/slideLayout212.xml"/><Relationship Id="rId35" Type="http://schemas.openxmlformats.org/officeDocument/2006/relationships/slideLayout" Target="../slideLayouts/slideLayout217.xml"/><Relationship Id="rId43" Type="http://schemas.openxmlformats.org/officeDocument/2006/relationships/slideLayout" Target="../slideLayouts/slideLayout225.xml"/><Relationship Id="rId48" Type="http://schemas.openxmlformats.org/officeDocument/2006/relationships/slideLayout" Target="../slideLayouts/slideLayout230.xml"/><Relationship Id="rId56" Type="http://schemas.openxmlformats.org/officeDocument/2006/relationships/slideLayout" Target="../slideLayouts/slideLayout238.xml"/><Relationship Id="rId64" Type="http://schemas.openxmlformats.org/officeDocument/2006/relationships/image" Target="../media/image1.png"/><Relationship Id="rId8" Type="http://schemas.openxmlformats.org/officeDocument/2006/relationships/slideLayout" Target="../slideLayouts/slideLayout190.xml"/><Relationship Id="rId51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4.xml"/><Relationship Id="rId17" Type="http://schemas.openxmlformats.org/officeDocument/2006/relationships/slideLayout" Target="../slideLayouts/slideLayout199.xml"/><Relationship Id="rId25" Type="http://schemas.openxmlformats.org/officeDocument/2006/relationships/slideLayout" Target="../slideLayouts/slideLayout207.xml"/><Relationship Id="rId33" Type="http://schemas.openxmlformats.org/officeDocument/2006/relationships/slideLayout" Target="../slideLayouts/slideLayout215.xml"/><Relationship Id="rId38" Type="http://schemas.openxmlformats.org/officeDocument/2006/relationships/slideLayout" Target="../slideLayouts/slideLayout220.xml"/><Relationship Id="rId46" Type="http://schemas.openxmlformats.org/officeDocument/2006/relationships/slideLayout" Target="../slideLayouts/slideLayout228.xml"/><Relationship Id="rId59" Type="http://schemas.openxmlformats.org/officeDocument/2006/relationships/slideLayout" Target="../slideLayouts/slideLayout2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6575" y="453412"/>
            <a:ext cx="11101388" cy="689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399" y="1717676"/>
            <a:ext cx="11104563" cy="4232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4133" y="612097"/>
            <a:ext cx="1657799" cy="324000"/>
          </a:xfrm>
          <a:prstGeom prst="rect">
            <a:avLst/>
          </a:prstGeom>
        </p:spPr>
      </p:pic>
      <p:sp>
        <p:nvSpPr>
          <p:cNvPr id="9" name="Hellogo" hidden="1"/>
          <p:cNvSpPr>
            <a:spLocks noChangeAspect="1" noEditPoints="1"/>
          </p:cNvSpPr>
          <p:nvPr/>
        </p:nvSpPr>
        <p:spPr bwMode="auto">
          <a:xfrm>
            <a:off x="4656000" y="2056975"/>
            <a:ext cx="2880000" cy="2744050"/>
          </a:xfrm>
          <a:custGeom>
            <a:avLst/>
            <a:gdLst>
              <a:gd name="T0" fmla="*/ 319 w 337"/>
              <a:gd name="T1" fmla="*/ 129 h 321"/>
              <a:gd name="T2" fmla="*/ 289 w 337"/>
              <a:gd name="T3" fmla="*/ 64 h 321"/>
              <a:gd name="T4" fmla="*/ 305 w 337"/>
              <a:gd name="T5" fmla="*/ 48 h 321"/>
              <a:gd name="T6" fmla="*/ 308 w 337"/>
              <a:gd name="T7" fmla="*/ 21 h 321"/>
              <a:gd name="T8" fmla="*/ 292 w 337"/>
              <a:gd name="T9" fmla="*/ 13 h 321"/>
              <a:gd name="T10" fmla="*/ 265 w 337"/>
              <a:gd name="T11" fmla="*/ 40 h 321"/>
              <a:gd name="T12" fmla="*/ 137 w 337"/>
              <a:gd name="T13" fmla="*/ 9 h 321"/>
              <a:gd name="T14" fmla="*/ 17 w 337"/>
              <a:gd name="T15" fmla="*/ 191 h 321"/>
              <a:gd name="T16" fmla="*/ 48 w 337"/>
              <a:gd name="T17" fmla="*/ 257 h 321"/>
              <a:gd name="T18" fmla="*/ 36 w 337"/>
              <a:gd name="T19" fmla="*/ 269 h 321"/>
              <a:gd name="T20" fmla="*/ 33 w 337"/>
              <a:gd name="T21" fmla="*/ 296 h 321"/>
              <a:gd name="T22" fmla="*/ 49 w 337"/>
              <a:gd name="T23" fmla="*/ 304 h 321"/>
              <a:gd name="T24" fmla="*/ 72 w 337"/>
              <a:gd name="T25" fmla="*/ 281 h 321"/>
              <a:gd name="T26" fmla="*/ 199 w 337"/>
              <a:gd name="T27" fmla="*/ 311 h 321"/>
              <a:gd name="T28" fmla="*/ 319 w 337"/>
              <a:gd name="T29" fmla="*/ 129 h 321"/>
              <a:gd name="T30" fmla="*/ 87 w 337"/>
              <a:gd name="T31" fmla="*/ 161 h 321"/>
              <a:gd name="T32" fmla="*/ 172 w 337"/>
              <a:gd name="T33" fmla="*/ 33 h 321"/>
              <a:gd name="T34" fmla="*/ 255 w 337"/>
              <a:gd name="T35" fmla="*/ 50 h 321"/>
              <a:gd name="T36" fmla="*/ 104 w 337"/>
              <a:gd name="T37" fmla="*/ 201 h 321"/>
              <a:gd name="T38" fmla="*/ 87 w 337"/>
              <a:gd name="T39" fmla="*/ 161 h 321"/>
              <a:gd name="T40" fmla="*/ 165 w 337"/>
              <a:gd name="T41" fmla="*/ 287 h 321"/>
              <a:gd name="T42" fmla="*/ 82 w 337"/>
              <a:gd name="T43" fmla="*/ 271 h 321"/>
              <a:gd name="T44" fmla="*/ 233 w 337"/>
              <a:gd name="T45" fmla="*/ 120 h 321"/>
              <a:gd name="T46" fmla="*/ 249 w 337"/>
              <a:gd name="T47" fmla="*/ 159 h 321"/>
              <a:gd name="T48" fmla="*/ 165 w 337"/>
              <a:gd name="T49" fmla="*/ 28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7" h="321">
                <a:moveTo>
                  <a:pt x="319" y="129"/>
                </a:moveTo>
                <a:cubicBezTo>
                  <a:pt x="314" y="105"/>
                  <a:pt x="304" y="83"/>
                  <a:pt x="289" y="64"/>
                </a:cubicBezTo>
                <a:cubicBezTo>
                  <a:pt x="305" y="48"/>
                  <a:pt x="305" y="48"/>
                  <a:pt x="305" y="48"/>
                </a:cubicBezTo>
                <a:cubicBezTo>
                  <a:pt x="310" y="43"/>
                  <a:pt x="311" y="31"/>
                  <a:pt x="308" y="21"/>
                </a:cubicBezTo>
                <a:cubicBezTo>
                  <a:pt x="304" y="11"/>
                  <a:pt x="297" y="8"/>
                  <a:pt x="292" y="13"/>
                </a:cubicBezTo>
                <a:cubicBezTo>
                  <a:pt x="265" y="40"/>
                  <a:pt x="265" y="40"/>
                  <a:pt x="265" y="40"/>
                </a:cubicBezTo>
                <a:cubicBezTo>
                  <a:pt x="230" y="12"/>
                  <a:pt x="184" y="0"/>
                  <a:pt x="137" y="9"/>
                </a:cubicBezTo>
                <a:cubicBezTo>
                  <a:pt x="54" y="26"/>
                  <a:pt x="0" y="108"/>
                  <a:pt x="17" y="191"/>
                </a:cubicBezTo>
                <a:cubicBezTo>
                  <a:pt x="22" y="216"/>
                  <a:pt x="33" y="238"/>
                  <a:pt x="48" y="257"/>
                </a:cubicBezTo>
                <a:cubicBezTo>
                  <a:pt x="36" y="269"/>
                  <a:pt x="36" y="269"/>
                  <a:pt x="36" y="269"/>
                </a:cubicBezTo>
                <a:cubicBezTo>
                  <a:pt x="30" y="274"/>
                  <a:pt x="29" y="286"/>
                  <a:pt x="33" y="296"/>
                </a:cubicBezTo>
                <a:cubicBezTo>
                  <a:pt x="36" y="306"/>
                  <a:pt x="44" y="309"/>
                  <a:pt x="49" y="304"/>
                </a:cubicBezTo>
                <a:cubicBezTo>
                  <a:pt x="72" y="281"/>
                  <a:pt x="72" y="281"/>
                  <a:pt x="72" y="281"/>
                </a:cubicBezTo>
                <a:cubicBezTo>
                  <a:pt x="107" y="308"/>
                  <a:pt x="153" y="321"/>
                  <a:pt x="199" y="311"/>
                </a:cubicBezTo>
                <a:cubicBezTo>
                  <a:pt x="283" y="294"/>
                  <a:pt x="337" y="213"/>
                  <a:pt x="319" y="129"/>
                </a:cubicBezTo>
                <a:moveTo>
                  <a:pt x="87" y="161"/>
                </a:moveTo>
                <a:cubicBezTo>
                  <a:pt x="75" y="103"/>
                  <a:pt x="113" y="45"/>
                  <a:pt x="172" y="33"/>
                </a:cubicBezTo>
                <a:cubicBezTo>
                  <a:pt x="202" y="27"/>
                  <a:pt x="231" y="34"/>
                  <a:pt x="255" y="50"/>
                </a:cubicBezTo>
                <a:cubicBezTo>
                  <a:pt x="104" y="201"/>
                  <a:pt x="104" y="201"/>
                  <a:pt x="104" y="201"/>
                </a:cubicBezTo>
                <a:cubicBezTo>
                  <a:pt x="96" y="189"/>
                  <a:pt x="90" y="176"/>
                  <a:pt x="87" y="161"/>
                </a:cubicBezTo>
                <a:moveTo>
                  <a:pt x="165" y="287"/>
                </a:moveTo>
                <a:cubicBezTo>
                  <a:pt x="135" y="293"/>
                  <a:pt x="106" y="287"/>
                  <a:pt x="82" y="271"/>
                </a:cubicBezTo>
                <a:cubicBezTo>
                  <a:pt x="233" y="120"/>
                  <a:pt x="233" y="120"/>
                  <a:pt x="233" y="120"/>
                </a:cubicBezTo>
                <a:cubicBezTo>
                  <a:pt x="241" y="132"/>
                  <a:pt x="246" y="145"/>
                  <a:pt x="249" y="159"/>
                </a:cubicBezTo>
                <a:cubicBezTo>
                  <a:pt x="261" y="218"/>
                  <a:pt x="223" y="275"/>
                  <a:pt x="165" y="287"/>
                </a:cubicBezTo>
              </a:path>
            </a:pathLst>
          </a:custGeom>
          <a:solidFill>
            <a:srgbClr val="00AE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1" name="Kantlogo" hidden="1"/>
          <p:cNvSpPr>
            <a:spLocks noChangeAspect="1" noEditPoints="1"/>
          </p:cNvSpPr>
          <p:nvPr/>
        </p:nvSpPr>
        <p:spPr bwMode="auto">
          <a:xfrm>
            <a:off x="4656000" y="2054372"/>
            <a:ext cx="2880000" cy="2749256"/>
          </a:xfrm>
          <a:custGeom>
            <a:avLst/>
            <a:gdLst>
              <a:gd name="T0" fmla="*/ 315 w 332"/>
              <a:gd name="T1" fmla="*/ 128 h 317"/>
              <a:gd name="T2" fmla="*/ 285 w 332"/>
              <a:gd name="T3" fmla="*/ 64 h 317"/>
              <a:gd name="T4" fmla="*/ 301 w 332"/>
              <a:gd name="T5" fmla="*/ 48 h 317"/>
              <a:gd name="T6" fmla="*/ 304 w 332"/>
              <a:gd name="T7" fmla="*/ 21 h 317"/>
              <a:gd name="T8" fmla="*/ 288 w 332"/>
              <a:gd name="T9" fmla="*/ 13 h 317"/>
              <a:gd name="T10" fmla="*/ 261 w 332"/>
              <a:gd name="T11" fmla="*/ 40 h 317"/>
              <a:gd name="T12" fmla="*/ 135 w 332"/>
              <a:gd name="T13" fmla="*/ 10 h 317"/>
              <a:gd name="T14" fmla="*/ 17 w 332"/>
              <a:gd name="T15" fmla="*/ 189 h 317"/>
              <a:gd name="T16" fmla="*/ 47 w 332"/>
              <a:gd name="T17" fmla="*/ 254 h 317"/>
              <a:gd name="T18" fmla="*/ 35 w 332"/>
              <a:gd name="T19" fmla="*/ 266 h 317"/>
              <a:gd name="T20" fmla="*/ 32 w 332"/>
              <a:gd name="T21" fmla="*/ 293 h 317"/>
              <a:gd name="T22" fmla="*/ 48 w 332"/>
              <a:gd name="T23" fmla="*/ 301 h 317"/>
              <a:gd name="T24" fmla="*/ 71 w 332"/>
              <a:gd name="T25" fmla="*/ 278 h 317"/>
              <a:gd name="T26" fmla="*/ 196 w 332"/>
              <a:gd name="T27" fmla="*/ 308 h 317"/>
              <a:gd name="T28" fmla="*/ 315 w 332"/>
              <a:gd name="T29" fmla="*/ 128 h 317"/>
              <a:gd name="T30" fmla="*/ 86 w 332"/>
              <a:gd name="T31" fmla="*/ 160 h 317"/>
              <a:gd name="T32" fmla="*/ 169 w 332"/>
              <a:gd name="T33" fmla="*/ 33 h 317"/>
              <a:gd name="T34" fmla="*/ 251 w 332"/>
              <a:gd name="T35" fmla="*/ 50 h 317"/>
              <a:gd name="T36" fmla="*/ 102 w 332"/>
              <a:gd name="T37" fmla="*/ 199 h 317"/>
              <a:gd name="T38" fmla="*/ 86 w 332"/>
              <a:gd name="T39" fmla="*/ 160 h 317"/>
              <a:gd name="T40" fmla="*/ 162 w 332"/>
              <a:gd name="T41" fmla="*/ 284 h 317"/>
              <a:gd name="T42" fmla="*/ 81 w 332"/>
              <a:gd name="T43" fmla="*/ 268 h 317"/>
              <a:gd name="T44" fmla="*/ 230 w 332"/>
              <a:gd name="T45" fmla="*/ 119 h 317"/>
              <a:gd name="T46" fmla="*/ 246 w 332"/>
              <a:gd name="T47" fmla="*/ 158 h 317"/>
              <a:gd name="T48" fmla="*/ 162 w 332"/>
              <a:gd name="T49" fmla="*/ 284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2" h="317">
                <a:moveTo>
                  <a:pt x="315" y="128"/>
                </a:moveTo>
                <a:cubicBezTo>
                  <a:pt x="310" y="104"/>
                  <a:pt x="299" y="82"/>
                  <a:pt x="285" y="64"/>
                </a:cubicBezTo>
                <a:cubicBezTo>
                  <a:pt x="301" y="48"/>
                  <a:pt x="301" y="48"/>
                  <a:pt x="301" y="48"/>
                </a:cubicBezTo>
                <a:cubicBezTo>
                  <a:pt x="306" y="43"/>
                  <a:pt x="307" y="31"/>
                  <a:pt x="304" y="21"/>
                </a:cubicBezTo>
                <a:cubicBezTo>
                  <a:pt x="300" y="12"/>
                  <a:pt x="293" y="8"/>
                  <a:pt x="288" y="13"/>
                </a:cubicBezTo>
                <a:cubicBezTo>
                  <a:pt x="261" y="40"/>
                  <a:pt x="261" y="40"/>
                  <a:pt x="261" y="40"/>
                </a:cubicBezTo>
                <a:cubicBezTo>
                  <a:pt x="227" y="13"/>
                  <a:pt x="182" y="0"/>
                  <a:pt x="135" y="10"/>
                </a:cubicBezTo>
                <a:cubicBezTo>
                  <a:pt x="53" y="26"/>
                  <a:pt x="0" y="107"/>
                  <a:pt x="17" y="189"/>
                </a:cubicBezTo>
                <a:cubicBezTo>
                  <a:pt x="22" y="214"/>
                  <a:pt x="32" y="236"/>
                  <a:pt x="47" y="254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30" y="271"/>
                  <a:pt x="29" y="283"/>
                  <a:pt x="32" y="293"/>
                </a:cubicBezTo>
                <a:cubicBezTo>
                  <a:pt x="36" y="302"/>
                  <a:pt x="43" y="306"/>
                  <a:pt x="48" y="301"/>
                </a:cubicBezTo>
                <a:cubicBezTo>
                  <a:pt x="71" y="278"/>
                  <a:pt x="71" y="278"/>
                  <a:pt x="71" y="278"/>
                </a:cubicBezTo>
                <a:cubicBezTo>
                  <a:pt x="105" y="305"/>
                  <a:pt x="150" y="317"/>
                  <a:pt x="196" y="308"/>
                </a:cubicBezTo>
                <a:cubicBezTo>
                  <a:pt x="279" y="291"/>
                  <a:pt x="332" y="211"/>
                  <a:pt x="315" y="128"/>
                </a:cubicBezTo>
                <a:moveTo>
                  <a:pt x="86" y="160"/>
                </a:moveTo>
                <a:cubicBezTo>
                  <a:pt x="74" y="102"/>
                  <a:pt x="111" y="45"/>
                  <a:pt x="169" y="33"/>
                </a:cubicBezTo>
                <a:cubicBezTo>
                  <a:pt x="199" y="27"/>
                  <a:pt x="228" y="34"/>
                  <a:pt x="251" y="50"/>
                </a:cubicBezTo>
                <a:cubicBezTo>
                  <a:pt x="102" y="199"/>
                  <a:pt x="102" y="199"/>
                  <a:pt x="102" y="199"/>
                </a:cubicBezTo>
                <a:cubicBezTo>
                  <a:pt x="95" y="187"/>
                  <a:pt x="89" y="174"/>
                  <a:pt x="86" y="160"/>
                </a:cubicBezTo>
                <a:moveTo>
                  <a:pt x="162" y="284"/>
                </a:moveTo>
                <a:cubicBezTo>
                  <a:pt x="133" y="290"/>
                  <a:pt x="104" y="283"/>
                  <a:pt x="81" y="268"/>
                </a:cubicBezTo>
                <a:cubicBezTo>
                  <a:pt x="230" y="119"/>
                  <a:pt x="230" y="119"/>
                  <a:pt x="230" y="119"/>
                </a:cubicBezTo>
                <a:cubicBezTo>
                  <a:pt x="237" y="130"/>
                  <a:pt x="243" y="143"/>
                  <a:pt x="246" y="158"/>
                </a:cubicBezTo>
                <a:cubicBezTo>
                  <a:pt x="258" y="216"/>
                  <a:pt x="220" y="272"/>
                  <a:pt x="162" y="284"/>
                </a:cubicBezTo>
              </a:path>
            </a:pathLst>
          </a:custGeom>
          <a:noFill/>
          <a:ln w="1587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grpSp>
        <p:nvGrpSpPr>
          <p:cNvPr id="73" name="Skravertlogo" hidden="1"/>
          <p:cNvGrpSpPr>
            <a:grpSpLocks noChangeAspect="1"/>
          </p:cNvGrpSpPr>
          <p:nvPr/>
        </p:nvGrpSpPr>
        <p:grpSpPr bwMode="auto">
          <a:xfrm>
            <a:off x="4656000" y="1987582"/>
            <a:ext cx="2880000" cy="2882836"/>
            <a:chOff x="1627" y="448"/>
            <a:chExt cx="3047" cy="3050"/>
          </a:xfrm>
          <a:solidFill>
            <a:schemeClr val="accent1"/>
          </a:solidFill>
        </p:grpSpPr>
        <p:sp>
          <p:nvSpPr>
            <p:cNvPr id="74" name="Freeform 265"/>
            <p:cNvSpPr>
              <a:spLocks/>
            </p:cNvSpPr>
            <p:nvPr/>
          </p:nvSpPr>
          <p:spPr bwMode="auto">
            <a:xfrm>
              <a:off x="1629" y="1145"/>
              <a:ext cx="898" cy="927"/>
            </a:xfrm>
            <a:custGeom>
              <a:avLst/>
              <a:gdLst>
                <a:gd name="T0" fmla="*/ 358 w 379"/>
                <a:gd name="T1" fmla="*/ 33 h 391"/>
                <a:gd name="T2" fmla="*/ 379 w 379"/>
                <a:gd name="T3" fmla="*/ 0 h 391"/>
                <a:gd name="T4" fmla="*/ 0 w 379"/>
                <a:gd name="T5" fmla="*/ 380 h 391"/>
                <a:gd name="T6" fmla="*/ 1 w 379"/>
                <a:gd name="T7" fmla="*/ 391 h 391"/>
                <a:gd name="T8" fmla="*/ 358 w 379"/>
                <a:gd name="T9" fmla="*/ 3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391">
                  <a:moveTo>
                    <a:pt x="358" y="33"/>
                  </a:moveTo>
                  <a:cubicBezTo>
                    <a:pt x="364" y="22"/>
                    <a:pt x="372" y="11"/>
                    <a:pt x="379" y="0"/>
                  </a:cubicBezTo>
                  <a:lnTo>
                    <a:pt x="0" y="380"/>
                  </a:lnTo>
                  <a:cubicBezTo>
                    <a:pt x="0" y="384"/>
                    <a:pt x="0" y="387"/>
                    <a:pt x="1" y="391"/>
                  </a:cubicBezTo>
                  <a:lnTo>
                    <a:pt x="35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66"/>
            <p:cNvSpPr>
              <a:spLocks/>
            </p:cNvSpPr>
            <p:nvPr/>
          </p:nvSpPr>
          <p:spPr bwMode="auto">
            <a:xfrm>
              <a:off x="1674" y="1684"/>
              <a:ext cx="659" cy="683"/>
            </a:xfrm>
            <a:custGeom>
              <a:avLst/>
              <a:gdLst>
                <a:gd name="T0" fmla="*/ 277 w 278"/>
                <a:gd name="T1" fmla="*/ 13 h 288"/>
                <a:gd name="T2" fmla="*/ 278 w 278"/>
                <a:gd name="T3" fmla="*/ 0 h 288"/>
                <a:gd name="T4" fmla="*/ 0 w 278"/>
                <a:gd name="T5" fmla="*/ 279 h 288"/>
                <a:gd name="T6" fmla="*/ 2 w 278"/>
                <a:gd name="T7" fmla="*/ 288 h 288"/>
                <a:gd name="T8" fmla="*/ 277 w 278"/>
                <a:gd name="T9" fmla="*/ 1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88">
                  <a:moveTo>
                    <a:pt x="277" y="13"/>
                  </a:moveTo>
                  <a:cubicBezTo>
                    <a:pt x="277" y="9"/>
                    <a:pt x="277" y="5"/>
                    <a:pt x="278" y="0"/>
                  </a:cubicBezTo>
                  <a:lnTo>
                    <a:pt x="0" y="279"/>
                  </a:lnTo>
                  <a:cubicBezTo>
                    <a:pt x="0" y="282"/>
                    <a:pt x="1" y="285"/>
                    <a:pt x="2" y="288"/>
                  </a:cubicBezTo>
                  <a:lnTo>
                    <a:pt x="27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7"/>
            <p:cNvSpPr>
              <a:spLocks/>
            </p:cNvSpPr>
            <p:nvPr/>
          </p:nvSpPr>
          <p:spPr bwMode="auto">
            <a:xfrm>
              <a:off x="1653" y="1553"/>
              <a:ext cx="697" cy="721"/>
            </a:xfrm>
            <a:custGeom>
              <a:avLst/>
              <a:gdLst>
                <a:gd name="T0" fmla="*/ 292 w 294"/>
                <a:gd name="T1" fmla="*/ 13 h 304"/>
                <a:gd name="T2" fmla="*/ 294 w 294"/>
                <a:gd name="T3" fmla="*/ 0 h 304"/>
                <a:gd name="T4" fmla="*/ 0 w 294"/>
                <a:gd name="T5" fmla="*/ 294 h 304"/>
                <a:gd name="T6" fmla="*/ 2 w 294"/>
                <a:gd name="T7" fmla="*/ 304 h 304"/>
                <a:gd name="T8" fmla="*/ 292 w 294"/>
                <a:gd name="T9" fmla="*/ 1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304">
                  <a:moveTo>
                    <a:pt x="292" y="13"/>
                  </a:moveTo>
                  <a:cubicBezTo>
                    <a:pt x="293" y="9"/>
                    <a:pt x="293" y="4"/>
                    <a:pt x="294" y="0"/>
                  </a:cubicBezTo>
                  <a:lnTo>
                    <a:pt x="0" y="294"/>
                  </a:lnTo>
                  <a:cubicBezTo>
                    <a:pt x="1" y="297"/>
                    <a:pt x="1" y="301"/>
                    <a:pt x="2" y="304"/>
                  </a:cubicBezTo>
                  <a:lnTo>
                    <a:pt x="29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68"/>
            <p:cNvSpPr>
              <a:spLocks/>
            </p:cNvSpPr>
            <p:nvPr/>
          </p:nvSpPr>
          <p:spPr bwMode="auto">
            <a:xfrm>
              <a:off x="1639" y="1392"/>
              <a:ext cx="758" cy="785"/>
            </a:xfrm>
            <a:custGeom>
              <a:avLst/>
              <a:gdLst>
                <a:gd name="T0" fmla="*/ 314 w 320"/>
                <a:gd name="T1" fmla="*/ 17 h 331"/>
                <a:gd name="T2" fmla="*/ 320 w 320"/>
                <a:gd name="T3" fmla="*/ 0 h 331"/>
                <a:gd name="T4" fmla="*/ 0 w 320"/>
                <a:gd name="T5" fmla="*/ 321 h 331"/>
                <a:gd name="T6" fmla="*/ 1 w 320"/>
                <a:gd name="T7" fmla="*/ 331 h 331"/>
                <a:gd name="T8" fmla="*/ 314 w 320"/>
                <a:gd name="T9" fmla="*/ 1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331">
                  <a:moveTo>
                    <a:pt x="314" y="17"/>
                  </a:moveTo>
                  <a:cubicBezTo>
                    <a:pt x="316" y="11"/>
                    <a:pt x="318" y="5"/>
                    <a:pt x="320" y="0"/>
                  </a:cubicBezTo>
                  <a:lnTo>
                    <a:pt x="0" y="321"/>
                  </a:lnTo>
                  <a:cubicBezTo>
                    <a:pt x="0" y="324"/>
                    <a:pt x="0" y="327"/>
                    <a:pt x="1" y="331"/>
                  </a:cubicBezTo>
                  <a:lnTo>
                    <a:pt x="31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69"/>
            <p:cNvSpPr>
              <a:spLocks/>
            </p:cNvSpPr>
            <p:nvPr/>
          </p:nvSpPr>
          <p:spPr bwMode="auto">
            <a:xfrm>
              <a:off x="1793" y="493"/>
              <a:ext cx="2658" cy="2673"/>
            </a:xfrm>
            <a:custGeom>
              <a:avLst/>
              <a:gdLst>
                <a:gd name="T0" fmla="*/ 1122 w 1122"/>
                <a:gd name="T1" fmla="*/ 3 h 1127"/>
                <a:gd name="T2" fmla="*/ 1114 w 1122"/>
                <a:gd name="T3" fmla="*/ 0 h 1127"/>
                <a:gd name="T4" fmla="*/ 3 w 1122"/>
                <a:gd name="T5" fmla="*/ 1113 h 1127"/>
                <a:gd name="T6" fmla="*/ 0 w 1122"/>
                <a:gd name="T7" fmla="*/ 1127 h 1127"/>
                <a:gd name="T8" fmla="*/ 1122 w 1122"/>
                <a:gd name="T9" fmla="*/ 3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1127">
                  <a:moveTo>
                    <a:pt x="1122" y="3"/>
                  </a:moveTo>
                  <a:cubicBezTo>
                    <a:pt x="1119" y="2"/>
                    <a:pt x="1117" y="1"/>
                    <a:pt x="1114" y="0"/>
                  </a:cubicBezTo>
                  <a:lnTo>
                    <a:pt x="3" y="1113"/>
                  </a:lnTo>
                  <a:cubicBezTo>
                    <a:pt x="2" y="1118"/>
                    <a:pt x="1" y="1122"/>
                    <a:pt x="0" y="1127"/>
                  </a:cubicBezTo>
                  <a:lnTo>
                    <a:pt x="11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70"/>
            <p:cNvSpPr>
              <a:spLocks/>
            </p:cNvSpPr>
            <p:nvPr/>
          </p:nvSpPr>
          <p:spPr bwMode="auto">
            <a:xfrm>
              <a:off x="2776" y="450"/>
              <a:ext cx="472" cy="446"/>
            </a:xfrm>
            <a:custGeom>
              <a:avLst/>
              <a:gdLst>
                <a:gd name="T0" fmla="*/ 0 w 199"/>
                <a:gd name="T1" fmla="*/ 188 h 188"/>
                <a:gd name="T2" fmla="*/ 33 w 199"/>
                <a:gd name="T3" fmla="*/ 167 h 188"/>
                <a:gd name="T4" fmla="*/ 199 w 199"/>
                <a:gd name="T5" fmla="*/ 0 h 188"/>
                <a:gd name="T6" fmla="*/ 188 w 199"/>
                <a:gd name="T7" fmla="*/ 0 h 188"/>
                <a:gd name="T8" fmla="*/ 0 w 199"/>
                <a:gd name="T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88">
                  <a:moveTo>
                    <a:pt x="0" y="188"/>
                  </a:moveTo>
                  <a:cubicBezTo>
                    <a:pt x="11" y="180"/>
                    <a:pt x="22" y="173"/>
                    <a:pt x="33" y="167"/>
                  </a:cubicBezTo>
                  <a:lnTo>
                    <a:pt x="199" y="0"/>
                  </a:lnTo>
                  <a:cubicBezTo>
                    <a:pt x="195" y="0"/>
                    <a:pt x="192" y="0"/>
                    <a:pt x="188" y="0"/>
                  </a:cubicBezTo>
                  <a:lnTo>
                    <a:pt x="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71"/>
            <p:cNvSpPr>
              <a:spLocks/>
            </p:cNvSpPr>
            <p:nvPr/>
          </p:nvSpPr>
          <p:spPr bwMode="auto">
            <a:xfrm>
              <a:off x="3181" y="474"/>
              <a:ext cx="268" cy="244"/>
            </a:xfrm>
            <a:custGeom>
              <a:avLst/>
              <a:gdLst>
                <a:gd name="T0" fmla="*/ 0 w 113"/>
                <a:gd name="T1" fmla="*/ 103 h 103"/>
                <a:gd name="T2" fmla="*/ 1 w 113"/>
                <a:gd name="T3" fmla="*/ 103 h 103"/>
                <a:gd name="T4" fmla="*/ 14 w 113"/>
                <a:gd name="T5" fmla="*/ 101 h 103"/>
                <a:gd name="T6" fmla="*/ 113 w 113"/>
                <a:gd name="T7" fmla="*/ 1 h 103"/>
                <a:gd name="T8" fmla="*/ 104 w 113"/>
                <a:gd name="T9" fmla="*/ 0 h 103"/>
                <a:gd name="T10" fmla="*/ 0 w 113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103">
                  <a:moveTo>
                    <a:pt x="0" y="103"/>
                  </a:moveTo>
                  <a:cubicBezTo>
                    <a:pt x="1" y="103"/>
                    <a:pt x="1" y="103"/>
                    <a:pt x="1" y="103"/>
                  </a:cubicBezTo>
                  <a:cubicBezTo>
                    <a:pt x="5" y="102"/>
                    <a:pt x="10" y="101"/>
                    <a:pt x="14" y="101"/>
                  </a:cubicBezTo>
                  <a:lnTo>
                    <a:pt x="113" y="1"/>
                  </a:lnTo>
                  <a:cubicBezTo>
                    <a:pt x="110" y="1"/>
                    <a:pt x="107" y="0"/>
                    <a:pt x="104" y="0"/>
                  </a:cubicBezTo>
                  <a:lnTo>
                    <a:pt x="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72"/>
            <p:cNvSpPr>
              <a:spLocks/>
            </p:cNvSpPr>
            <p:nvPr/>
          </p:nvSpPr>
          <p:spPr bwMode="auto">
            <a:xfrm>
              <a:off x="1840" y="2177"/>
              <a:ext cx="578" cy="590"/>
            </a:xfrm>
            <a:custGeom>
              <a:avLst/>
              <a:gdLst>
                <a:gd name="T0" fmla="*/ 244 w 244"/>
                <a:gd name="T1" fmla="*/ 8 h 249"/>
                <a:gd name="T2" fmla="*/ 241 w 244"/>
                <a:gd name="T3" fmla="*/ 0 h 249"/>
                <a:gd name="T4" fmla="*/ 0 w 244"/>
                <a:gd name="T5" fmla="*/ 242 h 249"/>
                <a:gd name="T6" fmla="*/ 4 w 244"/>
                <a:gd name="T7" fmla="*/ 249 h 249"/>
                <a:gd name="T8" fmla="*/ 244 w 244"/>
                <a:gd name="T9" fmla="*/ 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9">
                  <a:moveTo>
                    <a:pt x="244" y="8"/>
                  </a:moveTo>
                  <a:cubicBezTo>
                    <a:pt x="243" y="6"/>
                    <a:pt x="242" y="3"/>
                    <a:pt x="241" y="0"/>
                  </a:cubicBezTo>
                  <a:lnTo>
                    <a:pt x="0" y="242"/>
                  </a:lnTo>
                  <a:cubicBezTo>
                    <a:pt x="1" y="244"/>
                    <a:pt x="3" y="246"/>
                    <a:pt x="4" y="249"/>
                  </a:cubicBezTo>
                  <a:lnTo>
                    <a:pt x="24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3"/>
            <p:cNvSpPr>
              <a:spLocks/>
            </p:cNvSpPr>
            <p:nvPr/>
          </p:nvSpPr>
          <p:spPr bwMode="auto">
            <a:xfrm>
              <a:off x="1883" y="2255"/>
              <a:ext cx="573" cy="581"/>
            </a:xfrm>
            <a:custGeom>
              <a:avLst/>
              <a:gdLst>
                <a:gd name="T0" fmla="*/ 242 w 242"/>
                <a:gd name="T1" fmla="*/ 8 h 245"/>
                <a:gd name="T2" fmla="*/ 238 w 242"/>
                <a:gd name="T3" fmla="*/ 0 h 245"/>
                <a:gd name="T4" fmla="*/ 0 w 242"/>
                <a:gd name="T5" fmla="*/ 238 h 245"/>
                <a:gd name="T6" fmla="*/ 5 w 242"/>
                <a:gd name="T7" fmla="*/ 245 h 245"/>
                <a:gd name="T8" fmla="*/ 242 w 242"/>
                <a:gd name="T9" fmla="*/ 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5">
                  <a:moveTo>
                    <a:pt x="242" y="8"/>
                  </a:moveTo>
                  <a:cubicBezTo>
                    <a:pt x="240" y="5"/>
                    <a:pt x="239" y="3"/>
                    <a:pt x="238" y="0"/>
                  </a:cubicBezTo>
                  <a:lnTo>
                    <a:pt x="0" y="238"/>
                  </a:lnTo>
                  <a:cubicBezTo>
                    <a:pt x="2" y="240"/>
                    <a:pt x="3" y="243"/>
                    <a:pt x="5" y="245"/>
                  </a:cubicBezTo>
                  <a:lnTo>
                    <a:pt x="24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74"/>
            <p:cNvSpPr>
              <a:spLocks/>
            </p:cNvSpPr>
            <p:nvPr/>
          </p:nvSpPr>
          <p:spPr bwMode="auto">
            <a:xfrm>
              <a:off x="1930" y="2329"/>
              <a:ext cx="569" cy="574"/>
            </a:xfrm>
            <a:custGeom>
              <a:avLst/>
              <a:gdLst>
                <a:gd name="T0" fmla="*/ 240 w 240"/>
                <a:gd name="T1" fmla="*/ 7 h 242"/>
                <a:gd name="T2" fmla="*/ 235 w 240"/>
                <a:gd name="T3" fmla="*/ 0 h 242"/>
                <a:gd name="T4" fmla="*/ 0 w 240"/>
                <a:gd name="T5" fmla="*/ 235 h 242"/>
                <a:gd name="T6" fmla="*/ 5 w 240"/>
                <a:gd name="T7" fmla="*/ 242 h 242"/>
                <a:gd name="T8" fmla="*/ 240 w 240"/>
                <a:gd name="T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2">
                  <a:moveTo>
                    <a:pt x="240" y="7"/>
                  </a:moveTo>
                  <a:cubicBezTo>
                    <a:pt x="238" y="5"/>
                    <a:pt x="237" y="2"/>
                    <a:pt x="235" y="0"/>
                  </a:cubicBezTo>
                  <a:lnTo>
                    <a:pt x="0" y="235"/>
                  </a:lnTo>
                  <a:cubicBezTo>
                    <a:pt x="2" y="237"/>
                    <a:pt x="4" y="240"/>
                    <a:pt x="5" y="242"/>
                  </a:cubicBezTo>
                  <a:lnTo>
                    <a:pt x="24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75"/>
            <p:cNvSpPr>
              <a:spLocks/>
            </p:cNvSpPr>
            <p:nvPr/>
          </p:nvSpPr>
          <p:spPr bwMode="auto">
            <a:xfrm>
              <a:off x="1729" y="1906"/>
              <a:ext cx="613" cy="631"/>
            </a:xfrm>
            <a:custGeom>
              <a:avLst/>
              <a:gdLst>
                <a:gd name="T0" fmla="*/ 259 w 259"/>
                <a:gd name="T1" fmla="*/ 10 h 266"/>
                <a:gd name="T2" fmla="*/ 257 w 259"/>
                <a:gd name="T3" fmla="*/ 0 h 266"/>
                <a:gd name="T4" fmla="*/ 0 w 259"/>
                <a:gd name="T5" fmla="*/ 258 h 266"/>
                <a:gd name="T6" fmla="*/ 3 w 259"/>
                <a:gd name="T7" fmla="*/ 266 h 266"/>
                <a:gd name="T8" fmla="*/ 259 w 259"/>
                <a:gd name="T9" fmla="*/ 1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6">
                  <a:moveTo>
                    <a:pt x="259" y="10"/>
                  </a:moveTo>
                  <a:cubicBezTo>
                    <a:pt x="258" y="7"/>
                    <a:pt x="258" y="4"/>
                    <a:pt x="257" y="0"/>
                  </a:cubicBezTo>
                  <a:lnTo>
                    <a:pt x="0" y="258"/>
                  </a:lnTo>
                  <a:cubicBezTo>
                    <a:pt x="1" y="261"/>
                    <a:pt x="2" y="264"/>
                    <a:pt x="3" y="266"/>
                  </a:cubicBezTo>
                  <a:lnTo>
                    <a:pt x="25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276"/>
            <p:cNvSpPr>
              <a:spLocks/>
            </p:cNvSpPr>
            <p:nvPr/>
          </p:nvSpPr>
          <p:spPr bwMode="auto">
            <a:xfrm>
              <a:off x="1800" y="2094"/>
              <a:ext cx="588" cy="600"/>
            </a:xfrm>
            <a:custGeom>
              <a:avLst/>
              <a:gdLst>
                <a:gd name="T0" fmla="*/ 248 w 248"/>
                <a:gd name="T1" fmla="*/ 8 h 253"/>
                <a:gd name="T2" fmla="*/ 245 w 248"/>
                <a:gd name="T3" fmla="*/ 0 h 253"/>
                <a:gd name="T4" fmla="*/ 0 w 248"/>
                <a:gd name="T5" fmla="*/ 246 h 253"/>
                <a:gd name="T6" fmla="*/ 3 w 248"/>
                <a:gd name="T7" fmla="*/ 253 h 253"/>
                <a:gd name="T8" fmla="*/ 248 w 248"/>
                <a:gd name="T9" fmla="*/ 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53">
                  <a:moveTo>
                    <a:pt x="248" y="8"/>
                  </a:moveTo>
                  <a:cubicBezTo>
                    <a:pt x="247" y="6"/>
                    <a:pt x="246" y="3"/>
                    <a:pt x="245" y="0"/>
                  </a:cubicBezTo>
                  <a:lnTo>
                    <a:pt x="0" y="246"/>
                  </a:lnTo>
                  <a:cubicBezTo>
                    <a:pt x="1" y="248"/>
                    <a:pt x="2" y="250"/>
                    <a:pt x="3" y="253"/>
                  </a:cubicBezTo>
                  <a:lnTo>
                    <a:pt x="24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77"/>
            <p:cNvSpPr>
              <a:spLocks/>
            </p:cNvSpPr>
            <p:nvPr/>
          </p:nvSpPr>
          <p:spPr bwMode="auto">
            <a:xfrm>
              <a:off x="1698" y="1802"/>
              <a:ext cx="633" cy="652"/>
            </a:xfrm>
            <a:custGeom>
              <a:avLst/>
              <a:gdLst>
                <a:gd name="T0" fmla="*/ 267 w 267"/>
                <a:gd name="T1" fmla="*/ 11 h 275"/>
                <a:gd name="T2" fmla="*/ 266 w 267"/>
                <a:gd name="T3" fmla="*/ 0 h 275"/>
                <a:gd name="T4" fmla="*/ 0 w 267"/>
                <a:gd name="T5" fmla="*/ 266 h 275"/>
                <a:gd name="T6" fmla="*/ 3 w 267"/>
                <a:gd name="T7" fmla="*/ 275 h 275"/>
                <a:gd name="T8" fmla="*/ 267 w 267"/>
                <a:gd name="T9" fmla="*/ 1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5">
                  <a:moveTo>
                    <a:pt x="267" y="11"/>
                  </a:moveTo>
                  <a:cubicBezTo>
                    <a:pt x="267" y="7"/>
                    <a:pt x="267" y="3"/>
                    <a:pt x="266" y="0"/>
                  </a:cubicBezTo>
                  <a:lnTo>
                    <a:pt x="0" y="266"/>
                  </a:lnTo>
                  <a:cubicBezTo>
                    <a:pt x="1" y="269"/>
                    <a:pt x="2" y="272"/>
                    <a:pt x="3" y="275"/>
                  </a:cubicBezTo>
                  <a:lnTo>
                    <a:pt x="26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78"/>
            <p:cNvSpPr>
              <a:spLocks/>
            </p:cNvSpPr>
            <p:nvPr/>
          </p:nvSpPr>
          <p:spPr bwMode="auto">
            <a:xfrm>
              <a:off x="1762" y="2004"/>
              <a:ext cx="599" cy="614"/>
            </a:xfrm>
            <a:custGeom>
              <a:avLst/>
              <a:gdLst>
                <a:gd name="T0" fmla="*/ 253 w 253"/>
                <a:gd name="T1" fmla="*/ 9 h 259"/>
                <a:gd name="T2" fmla="*/ 250 w 253"/>
                <a:gd name="T3" fmla="*/ 0 h 259"/>
                <a:gd name="T4" fmla="*/ 0 w 253"/>
                <a:gd name="T5" fmla="*/ 251 h 259"/>
                <a:gd name="T6" fmla="*/ 3 w 253"/>
                <a:gd name="T7" fmla="*/ 259 h 259"/>
                <a:gd name="T8" fmla="*/ 253 w 253"/>
                <a:gd name="T9" fmla="*/ 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259">
                  <a:moveTo>
                    <a:pt x="253" y="9"/>
                  </a:moveTo>
                  <a:cubicBezTo>
                    <a:pt x="252" y="6"/>
                    <a:pt x="251" y="3"/>
                    <a:pt x="250" y="0"/>
                  </a:cubicBezTo>
                  <a:lnTo>
                    <a:pt x="0" y="251"/>
                  </a:lnTo>
                  <a:cubicBezTo>
                    <a:pt x="1" y="254"/>
                    <a:pt x="2" y="256"/>
                    <a:pt x="3" y="259"/>
                  </a:cubicBezTo>
                  <a:lnTo>
                    <a:pt x="25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279"/>
            <p:cNvSpPr>
              <a:spLocks/>
            </p:cNvSpPr>
            <p:nvPr/>
          </p:nvSpPr>
          <p:spPr bwMode="auto">
            <a:xfrm>
              <a:off x="3020" y="457"/>
              <a:ext cx="332" cy="309"/>
            </a:xfrm>
            <a:custGeom>
              <a:avLst/>
              <a:gdLst>
                <a:gd name="T0" fmla="*/ 0 w 140"/>
                <a:gd name="T1" fmla="*/ 130 h 130"/>
                <a:gd name="T2" fmla="*/ 18 w 140"/>
                <a:gd name="T3" fmla="*/ 124 h 130"/>
                <a:gd name="T4" fmla="*/ 140 w 140"/>
                <a:gd name="T5" fmla="*/ 2 h 130"/>
                <a:gd name="T6" fmla="*/ 130 w 140"/>
                <a:gd name="T7" fmla="*/ 0 h 130"/>
                <a:gd name="T8" fmla="*/ 0 w 140"/>
                <a:gd name="T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0">
                  <a:moveTo>
                    <a:pt x="0" y="130"/>
                  </a:moveTo>
                  <a:cubicBezTo>
                    <a:pt x="6" y="128"/>
                    <a:pt x="12" y="126"/>
                    <a:pt x="18" y="124"/>
                  </a:cubicBezTo>
                  <a:lnTo>
                    <a:pt x="140" y="2"/>
                  </a:lnTo>
                  <a:cubicBezTo>
                    <a:pt x="137" y="1"/>
                    <a:pt x="133" y="1"/>
                    <a:pt x="130" y="0"/>
                  </a:cubicBezTo>
                  <a:lnTo>
                    <a:pt x="0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280"/>
            <p:cNvSpPr>
              <a:spLocks/>
            </p:cNvSpPr>
            <p:nvPr/>
          </p:nvSpPr>
          <p:spPr bwMode="auto">
            <a:xfrm>
              <a:off x="1684" y="505"/>
              <a:ext cx="1054" cy="1058"/>
            </a:xfrm>
            <a:custGeom>
              <a:avLst/>
              <a:gdLst>
                <a:gd name="T0" fmla="*/ 445 w 445"/>
                <a:gd name="T1" fmla="*/ 0 h 446"/>
                <a:gd name="T2" fmla="*/ 429 w 445"/>
                <a:gd name="T3" fmla="*/ 5 h 446"/>
                <a:gd name="T4" fmla="*/ 4 w 445"/>
                <a:gd name="T5" fmla="*/ 430 h 446"/>
                <a:gd name="T6" fmla="*/ 0 w 445"/>
                <a:gd name="T7" fmla="*/ 446 h 446"/>
                <a:gd name="T8" fmla="*/ 445 w 445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6">
                  <a:moveTo>
                    <a:pt x="445" y="0"/>
                  </a:moveTo>
                  <a:cubicBezTo>
                    <a:pt x="439" y="2"/>
                    <a:pt x="434" y="3"/>
                    <a:pt x="429" y="5"/>
                  </a:cubicBezTo>
                  <a:lnTo>
                    <a:pt x="4" y="430"/>
                  </a:lnTo>
                  <a:cubicBezTo>
                    <a:pt x="3" y="435"/>
                    <a:pt x="1" y="441"/>
                    <a:pt x="0" y="446"/>
                  </a:cubicBezTo>
                  <a:lnTo>
                    <a:pt x="4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281"/>
            <p:cNvSpPr>
              <a:spLocks/>
            </p:cNvSpPr>
            <p:nvPr/>
          </p:nvSpPr>
          <p:spPr bwMode="auto">
            <a:xfrm>
              <a:off x="1651" y="472"/>
              <a:ext cx="1234" cy="1238"/>
            </a:xfrm>
            <a:custGeom>
              <a:avLst/>
              <a:gdLst>
                <a:gd name="T0" fmla="*/ 521 w 521"/>
                <a:gd name="T1" fmla="*/ 0 h 522"/>
                <a:gd name="T2" fmla="*/ 507 w 521"/>
                <a:gd name="T3" fmla="*/ 2 h 522"/>
                <a:gd name="T4" fmla="*/ 2 w 521"/>
                <a:gd name="T5" fmla="*/ 508 h 522"/>
                <a:gd name="T6" fmla="*/ 0 w 521"/>
                <a:gd name="T7" fmla="*/ 522 h 522"/>
                <a:gd name="T8" fmla="*/ 521 w 521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522">
                  <a:moveTo>
                    <a:pt x="521" y="0"/>
                  </a:moveTo>
                  <a:cubicBezTo>
                    <a:pt x="517" y="1"/>
                    <a:pt x="512" y="2"/>
                    <a:pt x="507" y="2"/>
                  </a:cubicBezTo>
                  <a:lnTo>
                    <a:pt x="2" y="508"/>
                  </a:lnTo>
                  <a:cubicBezTo>
                    <a:pt x="1" y="513"/>
                    <a:pt x="0" y="518"/>
                    <a:pt x="0" y="522"/>
                  </a:cubicBezTo>
                  <a:lnTo>
                    <a:pt x="5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82"/>
            <p:cNvSpPr>
              <a:spLocks/>
            </p:cNvSpPr>
            <p:nvPr/>
          </p:nvSpPr>
          <p:spPr bwMode="auto">
            <a:xfrm>
              <a:off x="1632" y="453"/>
              <a:ext cx="1386" cy="1389"/>
            </a:xfrm>
            <a:custGeom>
              <a:avLst/>
              <a:gdLst>
                <a:gd name="T0" fmla="*/ 585 w 585"/>
                <a:gd name="T1" fmla="*/ 0 h 586"/>
                <a:gd name="T2" fmla="*/ 572 w 585"/>
                <a:gd name="T3" fmla="*/ 2 h 586"/>
                <a:gd name="T4" fmla="*/ 2 w 585"/>
                <a:gd name="T5" fmla="*/ 573 h 586"/>
                <a:gd name="T6" fmla="*/ 0 w 585"/>
                <a:gd name="T7" fmla="*/ 586 h 586"/>
                <a:gd name="T8" fmla="*/ 585 w 585"/>
                <a:gd name="T9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5" h="586">
                  <a:moveTo>
                    <a:pt x="585" y="0"/>
                  </a:moveTo>
                  <a:cubicBezTo>
                    <a:pt x="581" y="1"/>
                    <a:pt x="576" y="1"/>
                    <a:pt x="572" y="2"/>
                  </a:cubicBezTo>
                  <a:lnTo>
                    <a:pt x="2" y="573"/>
                  </a:lnTo>
                  <a:cubicBezTo>
                    <a:pt x="1" y="577"/>
                    <a:pt x="1" y="581"/>
                    <a:pt x="0" y="586"/>
                  </a:cubicBezTo>
                  <a:lnTo>
                    <a:pt x="58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83"/>
            <p:cNvSpPr>
              <a:spLocks/>
            </p:cNvSpPr>
            <p:nvPr/>
          </p:nvSpPr>
          <p:spPr bwMode="auto">
            <a:xfrm>
              <a:off x="3146" y="1966"/>
              <a:ext cx="1528" cy="1532"/>
            </a:xfrm>
            <a:custGeom>
              <a:avLst/>
              <a:gdLst>
                <a:gd name="T0" fmla="*/ 645 w 645"/>
                <a:gd name="T1" fmla="*/ 0 h 646"/>
                <a:gd name="T2" fmla="*/ 0 w 645"/>
                <a:gd name="T3" fmla="*/ 646 h 646"/>
                <a:gd name="T4" fmla="*/ 11 w 645"/>
                <a:gd name="T5" fmla="*/ 646 h 646"/>
                <a:gd name="T6" fmla="*/ 644 w 645"/>
                <a:gd name="T7" fmla="*/ 11 h 646"/>
                <a:gd name="T8" fmla="*/ 645 w 645"/>
                <a:gd name="T9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646">
                  <a:moveTo>
                    <a:pt x="645" y="0"/>
                  </a:moveTo>
                  <a:lnTo>
                    <a:pt x="0" y="646"/>
                  </a:lnTo>
                  <a:cubicBezTo>
                    <a:pt x="3" y="646"/>
                    <a:pt x="7" y="646"/>
                    <a:pt x="11" y="646"/>
                  </a:cubicBezTo>
                  <a:lnTo>
                    <a:pt x="644" y="11"/>
                  </a:lnTo>
                  <a:cubicBezTo>
                    <a:pt x="645" y="7"/>
                    <a:pt x="645" y="4"/>
                    <a:pt x="6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84"/>
            <p:cNvSpPr>
              <a:spLocks/>
            </p:cNvSpPr>
            <p:nvPr/>
          </p:nvSpPr>
          <p:spPr bwMode="auto">
            <a:xfrm>
              <a:off x="1743" y="567"/>
              <a:ext cx="820" cy="820"/>
            </a:xfrm>
            <a:custGeom>
              <a:avLst/>
              <a:gdLst>
                <a:gd name="T0" fmla="*/ 346 w 346"/>
                <a:gd name="T1" fmla="*/ 0 h 346"/>
                <a:gd name="T2" fmla="*/ 326 w 346"/>
                <a:gd name="T3" fmla="*/ 8 h 346"/>
                <a:gd name="T4" fmla="*/ 9 w 346"/>
                <a:gd name="T5" fmla="*/ 326 h 346"/>
                <a:gd name="T6" fmla="*/ 0 w 346"/>
                <a:gd name="T7" fmla="*/ 346 h 346"/>
                <a:gd name="T8" fmla="*/ 346 w 346"/>
                <a:gd name="T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340" y="2"/>
                    <a:pt x="333" y="5"/>
                    <a:pt x="326" y="8"/>
                  </a:cubicBezTo>
                  <a:lnTo>
                    <a:pt x="9" y="326"/>
                  </a:lnTo>
                  <a:cubicBezTo>
                    <a:pt x="6" y="333"/>
                    <a:pt x="3" y="339"/>
                    <a:pt x="0" y="346"/>
                  </a:cubicBez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85"/>
            <p:cNvSpPr>
              <a:spLocks/>
            </p:cNvSpPr>
            <p:nvPr/>
          </p:nvSpPr>
          <p:spPr bwMode="auto">
            <a:xfrm>
              <a:off x="1627" y="448"/>
              <a:ext cx="1509" cy="1513"/>
            </a:xfrm>
            <a:custGeom>
              <a:avLst/>
              <a:gdLst>
                <a:gd name="T0" fmla="*/ 637 w 637"/>
                <a:gd name="T1" fmla="*/ 0 h 638"/>
                <a:gd name="T2" fmla="*/ 626 w 637"/>
                <a:gd name="T3" fmla="*/ 0 h 638"/>
                <a:gd name="T4" fmla="*/ 0 w 637"/>
                <a:gd name="T5" fmla="*/ 627 h 638"/>
                <a:gd name="T6" fmla="*/ 0 w 637"/>
                <a:gd name="T7" fmla="*/ 638 h 638"/>
                <a:gd name="T8" fmla="*/ 637 w 63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7" h="638">
                  <a:moveTo>
                    <a:pt x="637" y="0"/>
                  </a:moveTo>
                  <a:cubicBezTo>
                    <a:pt x="633" y="0"/>
                    <a:pt x="630" y="0"/>
                    <a:pt x="626" y="0"/>
                  </a:cubicBezTo>
                  <a:lnTo>
                    <a:pt x="0" y="627"/>
                  </a:lnTo>
                  <a:cubicBezTo>
                    <a:pt x="0" y="630"/>
                    <a:pt x="0" y="634"/>
                    <a:pt x="0" y="638"/>
                  </a:cubicBezTo>
                  <a:lnTo>
                    <a:pt x="6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86"/>
            <p:cNvSpPr>
              <a:spLocks/>
            </p:cNvSpPr>
            <p:nvPr/>
          </p:nvSpPr>
          <p:spPr bwMode="auto">
            <a:xfrm>
              <a:off x="1871" y="692"/>
              <a:ext cx="453" cy="453"/>
            </a:xfrm>
            <a:custGeom>
              <a:avLst/>
              <a:gdLst>
                <a:gd name="T0" fmla="*/ 191 w 191"/>
                <a:gd name="T1" fmla="*/ 0 h 191"/>
                <a:gd name="T2" fmla="*/ 154 w 191"/>
                <a:gd name="T3" fmla="*/ 26 h 191"/>
                <a:gd name="T4" fmla="*/ 26 w 191"/>
                <a:gd name="T5" fmla="*/ 154 h 191"/>
                <a:gd name="T6" fmla="*/ 0 w 191"/>
                <a:gd name="T7" fmla="*/ 191 h 191"/>
                <a:gd name="T8" fmla="*/ 191 w 191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91">
                  <a:moveTo>
                    <a:pt x="191" y="0"/>
                  </a:moveTo>
                  <a:cubicBezTo>
                    <a:pt x="178" y="8"/>
                    <a:pt x="166" y="17"/>
                    <a:pt x="154" y="26"/>
                  </a:cubicBezTo>
                  <a:lnTo>
                    <a:pt x="26" y="154"/>
                  </a:lnTo>
                  <a:cubicBezTo>
                    <a:pt x="17" y="166"/>
                    <a:pt x="8" y="179"/>
                    <a:pt x="0" y="191"/>
                  </a:cubicBezTo>
                  <a:lnTo>
                    <a:pt x="1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287"/>
            <p:cNvSpPr>
              <a:spLocks/>
            </p:cNvSpPr>
            <p:nvPr/>
          </p:nvSpPr>
          <p:spPr bwMode="auto">
            <a:xfrm>
              <a:off x="3885" y="704"/>
              <a:ext cx="125" cy="119"/>
            </a:xfrm>
            <a:custGeom>
              <a:avLst/>
              <a:gdLst>
                <a:gd name="T0" fmla="*/ 0 w 53"/>
                <a:gd name="T1" fmla="*/ 46 h 50"/>
                <a:gd name="T2" fmla="*/ 7 w 53"/>
                <a:gd name="T3" fmla="*/ 50 h 50"/>
                <a:gd name="T4" fmla="*/ 53 w 53"/>
                <a:gd name="T5" fmla="*/ 4 h 50"/>
                <a:gd name="T6" fmla="*/ 46 w 53"/>
                <a:gd name="T7" fmla="*/ 0 h 50"/>
                <a:gd name="T8" fmla="*/ 0 w 53"/>
                <a:gd name="T9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0" y="46"/>
                  </a:moveTo>
                  <a:cubicBezTo>
                    <a:pt x="2" y="48"/>
                    <a:pt x="5" y="49"/>
                    <a:pt x="7" y="50"/>
                  </a:cubicBezTo>
                  <a:lnTo>
                    <a:pt x="53" y="4"/>
                  </a:lnTo>
                  <a:cubicBezTo>
                    <a:pt x="51" y="3"/>
                    <a:pt x="48" y="1"/>
                    <a:pt x="46" y="0"/>
                  </a:cubicBez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88"/>
            <p:cNvSpPr>
              <a:spLocks/>
            </p:cNvSpPr>
            <p:nvPr/>
          </p:nvSpPr>
          <p:spPr bwMode="auto">
            <a:xfrm>
              <a:off x="3724" y="619"/>
              <a:ext cx="144" cy="135"/>
            </a:xfrm>
            <a:custGeom>
              <a:avLst/>
              <a:gdLst>
                <a:gd name="T0" fmla="*/ 0 w 61"/>
                <a:gd name="T1" fmla="*/ 54 h 57"/>
                <a:gd name="T2" fmla="*/ 8 w 61"/>
                <a:gd name="T3" fmla="*/ 57 h 57"/>
                <a:gd name="T4" fmla="*/ 61 w 61"/>
                <a:gd name="T5" fmla="*/ 4 h 57"/>
                <a:gd name="T6" fmla="*/ 54 w 61"/>
                <a:gd name="T7" fmla="*/ 0 h 57"/>
                <a:gd name="T8" fmla="*/ 0 w 61"/>
                <a:gd name="T9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7">
                  <a:moveTo>
                    <a:pt x="0" y="54"/>
                  </a:moveTo>
                  <a:cubicBezTo>
                    <a:pt x="3" y="55"/>
                    <a:pt x="5" y="56"/>
                    <a:pt x="8" y="57"/>
                  </a:cubicBezTo>
                  <a:lnTo>
                    <a:pt x="61" y="4"/>
                  </a:lnTo>
                  <a:cubicBezTo>
                    <a:pt x="59" y="3"/>
                    <a:pt x="56" y="1"/>
                    <a:pt x="54" y="0"/>
                  </a:cubicBez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89"/>
            <p:cNvSpPr>
              <a:spLocks/>
            </p:cNvSpPr>
            <p:nvPr/>
          </p:nvSpPr>
          <p:spPr bwMode="auto">
            <a:xfrm>
              <a:off x="3958" y="752"/>
              <a:ext cx="119" cy="113"/>
            </a:xfrm>
            <a:custGeom>
              <a:avLst/>
              <a:gdLst>
                <a:gd name="T0" fmla="*/ 43 w 50"/>
                <a:gd name="T1" fmla="*/ 0 h 48"/>
                <a:gd name="T2" fmla="*/ 0 w 50"/>
                <a:gd name="T3" fmla="*/ 43 h 48"/>
                <a:gd name="T4" fmla="*/ 7 w 50"/>
                <a:gd name="T5" fmla="*/ 48 h 48"/>
                <a:gd name="T6" fmla="*/ 50 w 50"/>
                <a:gd name="T7" fmla="*/ 5 h 48"/>
                <a:gd name="T8" fmla="*/ 43 w 5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8">
                  <a:moveTo>
                    <a:pt x="43" y="0"/>
                  </a:moveTo>
                  <a:lnTo>
                    <a:pt x="0" y="43"/>
                  </a:lnTo>
                  <a:cubicBezTo>
                    <a:pt x="2" y="45"/>
                    <a:pt x="4" y="46"/>
                    <a:pt x="7" y="48"/>
                  </a:cubicBezTo>
                  <a:lnTo>
                    <a:pt x="50" y="5"/>
                  </a:lnTo>
                  <a:cubicBezTo>
                    <a:pt x="48" y="3"/>
                    <a:pt x="45" y="1"/>
                    <a:pt x="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90"/>
            <p:cNvSpPr>
              <a:spLocks/>
            </p:cNvSpPr>
            <p:nvPr/>
          </p:nvSpPr>
          <p:spPr bwMode="auto">
            <a:xfrm>
              <a:off x="3430" y="519"/>
              <a:ext cx="199" cy="178"/>
            </a:xfrm>
            <a:custGeom>
              <a:avLst/>
              <a:gdLst>
                <a:gd name="T0" fmla="*/ 0 w 84"/>
                <a:gd name="T1" fmla="*/ 75 h 75"/>
                <a:gd name="T2" fmla="*/ 11 w 84"/>
                <a:gd name="T3" fmla="*/ 75 h 75"/>
                <a:gd name="T4" fmla="*/ 84 w 84"/>
                <a:gd name="T5" fmla="*/ 3 h 75"/>
                <a:gd name="T6" fmla="*/ 76 w 84"/>
                <a:gd name="T7" fmla="*/ 0 h 75"/>
                <a:gd name="T8" fmla="*/ 0 w 84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5">
                  <a:moveTo>
                    <a:pt x="0" y="75"/>
                  </a:moveTo>
                  <a:cubicBezTo>
                    <a:pt x="4" y="75"/>
                    <a:pt x="8" y="75"/>
                    <a:pt x="11" y="75"/>
                  </a:cubicBezTo>
                  <a:lnTo>
                    <a:pt x="84" y="3"/>
                  </a:lnTo>
                  <a:cubicBezTo>
                    <a:pt x="81" y="2"/>
                    <a:pt x="78" y="1"/>
                    <a:pt x="76" y="0"/>
                  </a:cubicBez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1"/>
            <p:cNvSpPr>
              <a:spLocks/>
            </p:cNvSpPr>
            <p:nvPr/>
          </p:nvSpPr>
          <p:spPr bwMode="auto">
            <a:xfrm>
              <a:off x="3537" y="548"/>
              <a:ext cx="175" cy="161"/>
            </a:xfrm>
            <a:custGeom>
              <a:avLst/>
              <a:gdLst>
                <a:gd name="T0" fmla="*/ 0 w 74"/>
                <a:gd name="T1" fmla="*/ 67 h 68"/>
                <a:gd name="T2" fmla="*/ 10 w 74"/>
                <a:gd name="T3" fmla="*/ 68 h 68"/>
                <a:gd name="T4" fmla="*/ 74 w 74"/>
                <a:gd name="T5" fmla="*/ 4 h 68"/>
                <a:gd name="T6" fmla="*/ 66 w 74"/>
                <a:gd name="T7" fmla="*/ 0 h 68"/>
                <a:gd name="T8" fmla="*/ 0 w 74"/>
                <a:gd name="T9" fmla="*/ 6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8">
                  <a:moveTo>
                    <a:pt x="0" y="67"/>
                  </a:moveTo>
                  <a:cubicBezTo>
                    <a:pt x="3" y="67"/>
                    <a:pt x="7" y="67"/>
                    <a:pt x="10" y="68"/>
                  </a:cubicBezTo>
                  <a:lnTo>
                    <a:pt x="74" y="4"/>
                  </a:lnTo>
                  <a:cubicBezTo>
                    <a:pt x="72" y="2"/>
                    <a:pt x="69" y="1"/>
                    <a:pt x="66" y="0"/>
                  </a:cubicBez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292"/>
            <p:cNvSpPr>
              <a:spLocks/>
            </p:cNvSpPr>
            <p:nvPr/>
          </p:nvSpPr>
          <p:spPr bwMode="auto">
            <a:xfrm>
              <a:off x="3807" y="659"/>
              <a:ext cx="135" cy="126"/>
            </a:xfrm>
            <a:custGeom>
              <a:avLst/>
              <a:gdLst>
                <a:gd name="T0" fmla="*/ 0 w 57"/>
                <a:gd name="T1" fmla="*/ 50 h 53"/>
                <a:gd name="T2" fmla="*/ 8 w 57"/>
                <a:gd name="T3" fmla="*/ 53 h 53"/>
                <a:gd name="T4" fmla="*/ 57 w 57"/>
                <a:gd name="T5" fmla="*/ 5 h 53"/>
                <a:gd name="T6" fmla="*/ 50 w 57"/>
                <a:gd name="T7" fmla="*/ 0 h 53"/>
                <a:gd name="T8" fmla="*/ 0 w 57"/>
                <a:gd name="T9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3">
                  <a:moveTo>
                    <a:pt x="0" y="50"/>
                  </a:moveTo>
                  <a:cubicBezTo>
                    <a:pt x="3" y="51"/>
                    <a:pt x="5" y="52"/>
                    <a:pt x="8" y="53"/>
                  </a:cubicBezTo>
                  <a:lnTo>
                    <a:pt x="57" y="5"/>
                  </a:lnTo>
                  <a:cubicBezTo>
                    <a:pt x="54" y="3"/>
                    <a:pt x="52" y="2"/>
                    <a:pt x="50" y="0"/>
                  </a:cubicBezTo>
                  <a:lnTo>
                    <a:pt x="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293"/>
            <p:cNvSpPr>
              <a:spLocks/>
            </p:cNvSpPr>
            <p:nvPr/>
          </p:nvSpPr>
          <p:spPr bwMode="auto">
            <a:xfrm>
              <a:off x="3314" y="493"/>
              <a:ext cx="227" cy="206"/>
            </a:xfrm>
            <a:custGeom>
              <a:avLst/>
              <a:gdLst>
                <a:gd name="T0" fmla="*/ 0 w 96"/>
                <a:gd name="T1" fmla="*/ 87 h 87"/>
                <a:gd name="T2" fmla="*/ 12 w 96"/>
                <a:gd name="T3" fmla="*/ 86 h 87"/>
                <a:gd name="T4" fmla="*/ 96 w 96"/>
                <a:gd name="T5" fmla="*/ 3 h 87"/>
                <a:gd name="T6" fmla="*/ 87 w 96"/>
                <a:gd name="T7" fmla="*/ 0 h 87"/>
                <a:gd name="T8" fmla="*/ 0 w 96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7">
                  <a:moveTo>
                    <a:pt x="0" y="87"/>
                  </a:moveTo>
                  <a:cubicBezTo>
                    <a:pt x="4" y="87"/>
                    <a:pt x="8" y="87"/>
                    <a:pt x="12" y="86"/>
                  </a:cubicBezTo>
                  <a:lnTo>
                    <a:pt x="96" y="3"/>
                  </a:lnTo>
                  <a:cubicBezTo>
                    <a:pt x="93" y="2"/>
                    <a:pt x="90" y="1"/>
                    <a:pt x="87" y="0"/>
                  </a:cubicBez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294"/>
            <p:cNvSpPr>
              <a:spLocks/>
            </p:cNvSpPr>
            <p:nvPr/>
          </p:nvSpPr>
          <p:spPr bwMode="auto">
            <a:xfrm>
              <a:off x="3634" y="583"/>
              <a:ext cx="158" cy="145"/>
            </a:xfrm>
            <a:custGeom>
              <a:avLst/>
              <a:gdLst>
                <a:gd name="T0" fmla="*/ 0 w 67"/>
                <a:gd name="T1" fmla="*/ 59 h 61"/>
                <a:gd name="T2" fmla="*/ 9 w 67"/>
                <a:gd name="T3" fmla="*/ 61 h 61"/>
                <a:gd name="T4" fmla="*/ 67 w 67"/>
                <a:gd name="T5" fmla="*/ 3 h 61"/>
                <a:gd name="T6" fmla="*/ 59 w 67"/>
                <a:gd name="T7" fmla="*/ 0 h 61"/>
                <a:gd name="T8" fmla="*/ 0 w 67"/>
                <a:gd name="T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0" y="59"/>
                  </a:moveTo>
                  <a:cubicBezTo>
                    <a:pt x="3" y="60"/>
                    <a:pt x="6" y="60"/>
                    <a:pt x="9" y="61"/>
                  </a:cubicBezTo>
                  <a:lnTo>
                    <a:pt x="67" y="3"/>
                  </a:lnTo>
                  <a:cubicBezTo>
                    <a:pt x="64" y="2"/>
                    <a:pt x="62" y="1"/>
                    <a:pt x="59" y="0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295"/>
            <p:cNvSpPr>
              <a:spLocks/>
            </p:cNvSpPr>
            <p:nvPr/>
          </p:nvSpPr>
          <p:spPr bwMode="auto">
            <a:xfrm>
              <a:off x="2835" y="3230"/>
              <a:ext cx="261" cy="239"/>
            </a:xfrm>
            <a:custGeom>
              <a:avLst/>
              <a:gdLst>
                <a:gd name="T0" fmla="*/ 110 w 110"/>
                <a:gd name="T1" fmla="*/ 0 h 101"/>
                <a:gd name="T2" fmla="*/ 96 w 110"/>
                <a:gd name="T3" fmla="*/ 3 h 101"/>
                <a:gd name="T4" fmla="*/ 0 w 110"/>
                <a:gd name="T5" fmla="*/ 99 h 101"/>
                <a:gd name="T6" fmla="*/ 10 w 110"/>
                <a:gd name="T7" fmla="*/ 101 h 101"/>
                <a:gd name="T8" fmla="*/ 110 w 110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01">
                  <a:moveTo>
                    <a:pt x="110" y="0"/>
                  </a:moveTo>
                  <a:cubicBezTo>
                    <a:pt x="106" y="1"/>
                    <a:pt x="101" y="2"/>
                    <a:pt x="96" y="3"/>
                  </a:cubicBezTo>
                  <a:lnTo>
                    <a:pt x="0" y="99"/>
                  </a:lnTo>
                  <a:cubicBezTo>
                    <a:pt x="3" y="100"/>
                    <a:pt x="6" y="100"/>
                    <a:pt x="10" y="101"/>
                  </a:cubicBezTo>
                  <a:lnTo>
                    <a:pt x="1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296"/>
            <p:cNvSpPr>
              <a:spLocks/>
            </p:cNvSpPr>
            <p:nvPr/>
          </p:nvSpPr>
          <p:spPr bwMode="auto">
            <a:xfrm>
              <a:off x="2575" y="3235"/>
              <a:ext cx="173" cy="156"/>
            </a:xfrm>
            <a:custGeom>
              <a:avLst/>
              <a:gdLst>
                <a:gd name="T0" fmla="*/ 73 w 73"/>
                <a:gd name="T1" fmla="*/ 1 h 66"/>
                <a:gd name="T2" fmla="*/ 63 w 73"/>
                <a:gd name="T3" fmla="*/ 0 h 66"/>
                <a:gd name="T4" fmla="*/ 0 w 73"/>
                <a:gd name="T5" fmla="*/ 63 h 66"/>
                <a:gd name="T6" fmla="*/ 8 w 73"/>
                <a:gd name="T7" fmla="*/ 66 h 66"/>
                <a:gd name="T8" fmla="*/ 73 w 73"/>
                <a:gd name="T9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6">
                  <a:moveTo>
                    <a:pt x="73" y="1"/>
                  </a:moveTo>
                  <a:cubicBezTo>
                    <a:pt x="70" y="1"/>
                    <a:pt x="66" y="0"/>
                    <a:pt x="63" y="0"/>
                  </a:cubicBezTo>
                  <a:lnTo>
                    <a:pt x="0" y="63"/>
                  </a:lnTo>
                  <a:cubicBezTo>
                    <a:pt x="3" y="64"/>
                    <a:pt x="5" y="65"/>
                    <a:pt x="8" y="66"/>
                  </a:cubicBezTo>
                  <a:lnTo>
                    <a:pt x="7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297"/>
            <p:cNvSpPr>
              <a:spLocks/>
            </p:cNvSpPr>
            <p:nvPr/>
          </p:nvSpPr>
          <p:spPr bwMode="auto">
            <a:xfrm>
              <a:off x="2743" y="3246"/>
              <a:ext cx="223" cy="202"/>
            </a:xfrm>
            <a:custGeom>
              <a:avLst/>
              <a:gdLst>
                <a:gd name="T0" fmla="*/ 94 w 94"/>
                <a:gd name="T1" fmla="*/ 0 h 85"/>
                <a:gd name="T2" fmla="*/ 82 w 94"/>
                <a:gd name="T3" fmla="*/ 0 h 85"/>
                <a:gd name="T4" fmla="*/ 0 w 94"/>
                <a:gd name="T5" fmla="*/ 82 h 85"/>
                <a:gd name="T6" fmla="*/ 9 w 94"/>
                <a:gd name="T7" fmla="*/ 85 h 85"/>
                <a:gd name="T8" fmla="*/ 94 w 9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5">
                  <a:moveTo>
                    <a:pt x="94" y="0"/>
                  </a:moveTo>
                  <a:cubicBezTo>
                    <a:pt x="90" y="0"/>
                    <a:pt x="86" y="0"/>
                    <a:pt x="82" y="0"/>
                  </a:cubicBezTo>
                  <a:lnTo>
                    <a:pt x="0" y="82"/>
                  </a:lnTo>
                  <a:cubicBezTo>
                    <a:pt x="3" y="83"/>
                    <a:pt x="6" y="84"/>
                    <a:pt x="9" y="85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298"/>
            <p:cNvSpPr>
              <a:spLocks/>
            </p:cNvSpPr>
            <p:nvPr/>
          </p:nvSpPr>
          <p:spPr bwMode="auto">
            <a:xfrm>
              <a:off x="2658" y="3246"/>
              <a:ext cx="194" cy="176"/>
            </a:xfrm>
            <a:custGeom>
              <a:avLst/>
              <a:gdLst>
                <a:gd name="T0" fmla="*/ 82 w 82"/>
                <a:gd name="T1" fmla="*/ 0 h 74"/>
                <a:gd name="T2" fmla="*/ 71 w 82"/>
                <a:gd name="T3" fmla="*/ 0 h 74"/>
                <a:gd name="T4" fmla="*/ 0 w 82"/>
                <a:gd name="T5" fmla="*/ 71 h 74"/>
                <a:gd name="T6" fmla="*/ 8 w 82"/>
                <a:gd name="T7" fmla="*/ 74 h 74"/>
                <a:gd name="T8" fmla="*/ 82 w 82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4">
                  <a:moveTo>
                    <a:pt x="82" y="0"/>
                  </a:moveTo>
                  <a:cubicBezTo>
                    <a:pt x="78" y="0"/>
                    <a:pt x="75" y="0"/>
                    <a:pt x="71" y="0"/>
                  </a:cubicBezTo>
                  <a:lnTo>
                    <a:pt x="0" y="71"/>
                  </a:lnTo>
                  <a:cubicBezTo>
                    <a:pt x="3" y="72"/>
                    <a:pt x="5" y="73"/>
                    <a:pt x="8" y="74"/>
                  </a:cubicBezTo>
                  <a:lnTo>
                    <a:pt x="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299"/>
            <p:cNvSpPr>
              <a:spLocks/>
            </p:cNvSpPr>
            <p:nvPr/>
          </p:nvSpPr>
          <p:spPr bwMode="auto">
            <a:xfrm>
              <a:off x="2347" y="3154"/>
              <a:ext cx="133" cy="123"/>
            </a:xfrm>
            <a:custGeom>
              <a:avLst/>
              <a:gdLst>
                <a:gd name="T0" fmla="*/ 56 w 56"/>
                <a:gd name="T1" fmla="*/ 3 h 52"/>
                <a:gd name="T2" fmla="*/ 48 w 56"/>
                <a:gd name="T3" fmla="*/ 0 h 52"/>
                <a:gd name="T4" fmla="*/ 0 w 56"/>
                <a:gd name="T5" fmla="*/ 48 h 52"/>
                <a:gd name="T6" fmla="*/ 7 w 56"/>
                <a:gd name="T7" fmla="*/ 52 h 52"/>
                <a:gd name="T8" fmla="*/ 56 w 56"/>
                <a:gd name="T9" fmla="*/ 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2">
                  <a:moveTo>
                    <a:pt x="56" y="3"/>
                  </a:moveTo>
                  <a:cubicBezTo>
                    <a:pt x="54" y="2"/>
                    <a:pt x="51" y="1"/>
                    <a:pt x="48" y="0"/>
                  </a:cubicBezTo>
                  <a:lnTo>
                    <a:pt x="0" y="48"/>
                  </a:lnTo>
                  <a:cubicBezTo>
                    <a:pt x="3" y="50"/>
                    <a:pt x="5" y="51"/>
                    <a:pt x="7" y="52"/>
                  </a:cubicBezTo>
                  <a:lnTo>
                    <a:pt x="5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00"/>
            <p:cNvSpPr>
              <a:spLocks/>
            </p:cNvSpPr>
            <p:nvPr/>
          </p:nvSpPr>
          <p:spPr bwMode="auto">
            <a:xfrm>
              <a:off x="2494" y="3213"/>
              <a:ext cx="159" cy="145"/>
            </a:xfrm>
            <a:custGeom>
              <a:avLst/>
              <a:gdLst>
                <a:gd name="T0" fmla="*/ 67 w 67"/>
                <a:gd name="T1" fmla="*/ 2 h 61"/>
                <a:gd name="T2" fmla="*/ 57 w 67"/>
                <a:gd name="T3" fmla="*/ 0 h 61"/>
                <a:gd name="T4" fmla="*/ 0 w 67"/>
                <a:gd name="T5" fmla="*/ 57 h 61"/>
                <a:gd name="T6" fmla="*/ 8 w 67"/>
                <a:gd name="T7" fmla="*/ 61 h 61"/>
                <a:gd name="T8" fmla="*/ 67 w 67"/>
                <a:gd name="T9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67" y="2"/>
                  </a:moveTo>
                  <a:cubicBezTo>
                    <a:pt x="63" y="2"/>
                    <a:pt x="60" y="1"/>
                    <a:pt x="57" y="0"/>
                  </a:cubicBezTo>
                  <a:lnTo>
                    <a:pt x="0" y="57"/>
                  </a:lnTo>
                  <a:cubicBezTo>
                    <a:pt x="3" y="58"/>
                    <a:pt x="6" y="60"/>
                    <a:pt x="8" y="61"/>
                  </a:cubicBezTo>
                  <a:lnTo>
                    <a:pt x="6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301"/>
            <p:cNvSpPr>
              <a:spLocks/>
            </p:cNvSpPr>
            <p:nvPr/>
          </p:nvSpPr>
          <p:spPr bwMode="auto">
            <a:xfrm>
              <a:off x="2279" y="3116"/>
              <a:ext cx="125" cy="119"/>
            </a:xfrm>
            <a:custGeom>
              <a:avLst/>
              <a:gdLst>
                <a:gd name="T0" fmla="*/ 53 w 53"/>
                <a:gd name="T1" fmla="*/ 4 h 50"/>
                <a:gd name="T2" fmla="*/ 45 w 53"/>
                <a:gd name="T3" fmla="*/ 0 h 50"/>
                <a:gd name="T4" fmla="*/ 0 w 53"/>
                <a:gd name="T5" fmla="*/ 45 h 50"/>
                <a:gd name="T6" fmla="*/ 7 w 53"/>
                <a:gd name="T7" fmla="*/ 50 h 50"/>
                <a:gd name="T8" fmla="*/ 53 w 53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53" y="4"/>
                  </a:moveTo>
                  <a:cubicBezTo>
                    <a:pt x="50" y="2"/>
                    <a:pt x="48" y="1"/>
                    <a:pt x="45" y="0"/>
                  </a:cubicBezTo>
                  <a:lnTo>
                    <a:pt x="0" y="45"/>
                  </a:lnTo>
                  <a:cubicBezTo>
                    <a:pt x="2" y="47"/>
                    <a:pt x="5" y="48"/>
                    <a:pt x="7" y="50"/>
                  </a:cubicBezTo>
                  <a:lnTo>
                    <a:pt x="53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302"/>
            <p:cNvSpPr>
              <a:spLocks/>
            </p:cNvSpPr>
            <p:nvPr/>
          </p:nvSpPr>
          <p:spPr bwMode="auto">
            <a:xfrm>
              <a:off x="1795" y="540"/>
              <a:ext cx="2713" cy="2732"/>
            </a:xfrm>
            <a:custGeom>
              <a:avLst/>
              <a:gdLst>
                <a:gd name="T0" fmla="*/ 1145 w 1145"/>
                <a:gd name="T1" fmla="*/ 7 h 1152"/>
                <a:gd name="T2" fmla="*/ 1141 w 1145"/>
                <a:gd name="T3" fmla="*/ 0 h 1152"/>
                <a:gd name="T4" fmla="*/ 0 w 1145"/>
                <a:gd name="T5" fmla="*/ 1142 h 1152"/>
                <a:gd name="T6" fmla="*/ 2 w 1145"/>
                <a:gd name="T7" fmla="*/ 1152 h 1152"/>
                <a:gd name="T8" fmla="*/ 1145 w 1145"/>
                <a:gd name="T9" fmla="*/ 7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5" h="1152">
                  <a:moveTo>
                    <a:pt x="1145" y="7"/>
                  </a:moveTo>
                  <a:cubicBezTo>
                    <a:pt x="1144" y="5"/>
                    <a:pt x="1142" y="3"/>
                    <a:pt x="1141" y="0"/>
                  </a:cubicBezTo>
                  <a:lnTo>
                    <a:pt x="0" y="1142"/>
                  </a:lnTo>
                  <a:cubicBezTo>
                    <a:pt x="1" y="1146"/>
                    <a:pt x="2" y="1149"/>
                    <a:pt x="2" y="1152"/>
                  </a:cubicBezTo>
                  <a:lnTo>
                    <a:pt x="1145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303"/>
            <p:cNvSpPr>
              <a:spLocks/>
            </p:cNvSpPr>
            <p:nvPr/>
          </p:nvSpPr>
          <p:spPr bwMode="auto">
            <a:xfrm>
              <a:off x="3707" y="2528"/>
              <a:ext cx="860" cy="863"/>
            </a:xfrm>
            <a:custGeom>
              <a:avLst/>
              <a:gdLst>
                <a:gd name="T0" fmla="*/ 356 w 363"/>
                <a:gd name="T1" fmla="*/ 19 h 364"/>
                <a:gd name="T2" fmla="*/ 363 w 363"/>
                <a:gd name="T3" fmla="*/ 0 h 364"/>
                <a:gd name="T4" fmla="*/ 0 w 363"/>
                <a:gd name="T5" fmla="*/ 364 h 364"/>
                <a:gd name="T6" fmla="*/ 18 w 363"/>
                <a:gd name="T7" fmla="*/ 357 h 364"/>
                <a:gd name="T8" fmla="*/ 356 w 363"/>
                <a:gd name="T9" fmla="*/ 1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356" y="19"/>
                  </a:moveTo>
                  <a:cubicBezTo>
                    <a:pt x="358" y="13"/>
                    <a:pt x="361" y="6"/>
                    <a:pt x="363" y="0"/>
                  </a:cubicBezTo>
                  <a:lnTo>
                    <a:pt x="0" y="364"/>
                  </a:lnTo>
                  <a:cubicBezTo>
                    <a:pt x="6" y="362"/>
                    <a:pt x="12" y="359"/>
                    <a:pt x="18" y="357"/>
                  </a:cubicBezTo>
                  <a:lnTo>
                    <a:pt x="35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304"/>
            <p:cNvSpPr>
              <a:spLocks/>
            </p:cNvSpPr>
            <p:nvPr/>
          </p:nvSpPr>
          <p:spPr bwMode="auto">
            <a:xfrm>
              <a:off x="3927" y="2751"/>
              <a:ext cx="534" cy="531"/>
            </a:xfrm>
            <a:custGeom>
              <a:avLst/>
              <a:gdLst>
                <a:gd name="T0" fmla="*/ 205 w 225"/>
                <a:gd name="T1" fmla="*/ 31 h 224"/>
                <a:gd name="T2" fmla="*/ 225 w 225"/>
                <a:gd name="T3" fmla="*/ 0 h 224"/>
                <a:gd name="T4" fmla="*/ 0 w 225"/>
                <a:gd name="T5" fmla="*/ 224 h 224"/>
                <a:gd name="T6" fmla="*/ 31 w 225"/>
                <a:gd name="T7" fmla="*/ 205 h 224"/>
                <a:gd name="T8" fmla="*/ 205 w 225"/>
                <a:gd name="T9" fmla="*/ 3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4">
                  <a:moveTo>
                    <a:pt x="205" y="31"/>
                  </a:moveTo>
                  <a:cubicBezTo>
                    <a:pt x="212" y="21"/>
                    <a:pt x="218" y="10"/>
                    <a:pt x="225" y="0"/>
                  </a:cubicBezTo>
                  <a:lnTo>
                    <a:pt x="0" y="224"/>
                  </a:lnTo>
                  <a:cubicBezTo>
                    <a:pt x="11" y="218"/>
                    <a:pt x="21" y="212"/>
                    <a:pt x="31" y="205"/>
                  </a:cubicBezTo>
                  <a:lnTo>
                    <a:pt x="20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305"/>
            <p:cNvSpPr>
              <a:spLocks/>
            </p:cNvSpPr>
            <p:nvPr/>
          </p:nvSpPr>
          <p:spPr bwMode="auto">
            <a:xfrm>
              <a:off x="3537" y="2357"/>
              <a:ext cx="1087" cy="1089"/>
            </a:xfrm>
            <a:custGeom>
              <a:avLst/>
              <a:gdLst>
                <a:gd name="T0" fmla="*/ 454 w 459"/>
                <a:gd name="T1" fmla="*/ 16 h 459"/>
                <a:gd name="T2" fmla="*/ 459 w 459"/>
                <a:gd name="T3" fmla="*/ 0 h 459"/>
                <a:gd name="T4" fmla="*/ 0 w 459"/>
                <a:gd name="T5" fmla="*/ 459 h 459"/>
                <a:gd name="T6" fmla="*/ 16 w 459"/>
                <a:gd name="T7" fmla="*/ 455 h 459"/>
                <a:gd name="T8" fmla="*/ 454 w 459"/>
                <a:gd name="T9" fmla="*/ 1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9" h="459">
                  <a:moveTo>
                    <a:pt x="454" y="16"/>
                  </a:moveTo>
                  <a:cubicBezTo>
                    <a:pt x="456" y="11"/>
                    <a:pt x="457" y="5"/>
                    <a:pt x="459" y="0"/>
                  </a:cubicBezTo>
                  <a:lnTo>
                    <a:pt x="0" y="459"/>
                  </a:lnTo>
                  <a:cubicBezTo>
                    <a:pt x="6" y="458"/>
                    <a:pt x="11" y="456"/>
                    <a:pt x="16" y="455"/>
                  </a:cubicBezTo>
                  <a:lnTo>
                    <a:pt x="45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306"/>
            <p:cNvSpPr>
              <a:spLocks/>
            </p:cNvSpPr>
            <p:nvPr/>
          </p:nvSpPr>
          <p:spPr bwMode="auto">
            <a:xfrm>
              <a:off x="3392" y="2212"/>
              <a:ext cx="1263" cy="1264"/>
            </a:xfrm>
            <a:custGeom>
              <a:avLst/>
              <a:gdLst>
                <a:gd name="T0" fmla="*/ 530 w 533"/>
                <a:gd name="T1" fmla="*/ 14 h 533"/>
                <a:gd name="T2" fmla="*/ 533 w 533"/>
                <a:gd name="T3" fmla="*/ 0 h 533"/>
                <a:gd name="T4" fmla="*/ 0 w 533"/>
                <a:gd name="T5" fmla="*/ 533 h 533"/>
                <a:gd name="T6" fmla="*/ 14 w 533"/>
                <a:gd name="T7" fmla="*/ 531 h 533"/>
                <a:gd name="T8" fmla="*/ 530 w 533"/>
                <a:gd name="T9" fmla="*/ 14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533">
                  <a:moveTo>
                    <a:pt x="530" y="14"/>
                  </a:moveTo>
                  <a:cubicBezTo>
                    <a:pt x="531" y="9"/>
                    <a:pt x="532" y="5"/>
                    <a:pt x="533" y="0"/>
                  </a:cubicBezTo>
                  <a:lnTo>
                    <a:pt x="0" y="533"/>
                  </a:lnTo>
                  <a:cubicBezTo>
                    <a:pt x="5" y="533"/>
                    <a:pt x="9" y="532"/>
                    <a:pt x="14" y="531"/>
                  </a:cubicBezTo>
                  <a:lnTo>
                    <a:pt x="53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307"/>
            <p:cNvSpPr>
              <a:spLocks/>
            </p:cNvSpPr>
            <p:nvPr/>
          </p:nvSpPr>
          <p:spPr bwMode="auto">
            <a:xfrm>
              <a:off x="2932" y="3189"/>
              <a:ext cx="318" cy="295"/>
            </a:xfrm>
            <a:custGeom>
              <a:avLst/>
              <a:gdLst>
                <a:gd name="T0" fmla="*/ 134 w 134"/>
                <a:gd name="T1" fmla="*/ 0 h 124"/>
                <a:gd name="T2" fmla="*/ 118 w 134"/>
                <a:gd name="T3" fmla="*/ 5 h 124"/>
                <a:gd name="T4" fmla="*/ 0 w 134"/>
                <a:gd name="T5" fmla="*/ 123 h 124"/>
                <a:gd name="T6" fmla="*/ 10 w 134"/>
                <a:gd name="T7" fmla="*/ 124 h 124"/>
                <a:gd name="T8" fmla="*/ 134 w 13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24">
                  <a:moveTo>
                    <a:pt x="134" y="0"/>
                  </a:moveTo>
                  <a:cubicBezTo>
                    <a:pt x="129" y="2"/>
                    <a:pt x="123" y="4"/>
                    <a:pt x="118" y="5"/>
                  </a:cubicBezTo>
                  <a:lnTo>
                    <a:pt x="0" y="123"/>
                  </a:lnTo>
                  <a:cubicBezTo>
                    <a:pt x="3" y="124"/>
                    <a:pt x="7" y="124"/>
                    <a:pt x="10" y="124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308"/>
            <p:cNvSpPr>
              <a:spLocks/>
            </p:cNvSpPr>
            <p:nvPr/>
          </p:nvSpPr>
          <p:spPr bwMode="auto">
            <a:xfrm>
              <a:off x="3034" y="3085"/>
              <a:ext cx="434" cy="410"/>
            </a:xfrm>
            <a:custGeom>
              <a:avLst/>
              <a:gdLst>
                <a:gd name="T0" fmla="*/ 183 w 183"/>
                <a:gd name="T1" fmla="*/ 0 h 173"/>
                <a:gd name="T2" fmla="*/ 156 w 183"/>
                <a:gd name="T3" fmla="*/ 16 h 173"/>
                <a:gd name="T4" fmla="*/ 0 w 183"/>
                <a:gd name="T5" fmla="*/ 172 h 173"/>
                <a:gd name="T6" fmla="*/ 11 w 183"/>
                <a:gd name="T7" fmla="*/ 173 h 173"/>
                <a:gd name="T8" fmla="*/ 183 w 18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73">
                  <a:moveTo>
                    <a:pt x="183" y="0"/>
                  </a:moveTo>
                  <a:cubicBezTo>
                    <a:pt x="174" y="6"/>
                    <a:pt x="165" y="11"/>
                    <a:pt x="156" y="16"/>
                  </a:cubicBezTo>
                  <a:lnTo>
                    <a:pt x="0" y="172"/>
                  </a:lnTo>
                  <a:cubicBezTo>
                    <a:pt x="4" y="172"/>
                    <a:pt x="7" y="172"/>
                    <a:pt x="11" y="173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309"/>
            <p:cNvSpPr>
              <a:spLocks/>
            </p:cNvSpPr>
            <p:nvPr/>
          </p:nvSpPr>
          <p:spPr bwMode="auto">
            <a:xfrm>
              <a:off x="3264" y="2084"/>
              <a:ext cx="1405" cy="1409"/>
            </a:xfrm>
            <a:custGeom>
              <a:avLst/>
              <a:gdLst>
                <a:gd name="T0" fmla="*/ 592 w 593"/>
                <a:gd name="T1" fmla="*/ 12 h 594"/>
                <a:gd name="T2" fmla="*/ 593 w 593"/>
                <a:gd name="T3" fmla="*/ 0 h 594"/>
                <a:gd name="T4" fmla="*/ 0 w 593"/>
                <a:gd name="T5" fmla="*/ 594 h 594"/>
                <a:gd name="T6" fmla="*/ 12 w 593"/>
                <a:gd name="T7" fmla="*/ 593 h 594"/>
                <a:gd name="T8" fmla="*/ 592 w 593"/>
                <a:gd name="T9" fmla="*/ 12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594">
                  <a:moveTo>
                    <a:pt x="592" y="12"/>
                  </a:moveTo>
                  <a:cubicBezTo>
                    <a:pt x="592" y="8"/>
                    <a:pt x="592" y="4"/>
                    <a:pt x="593" y="0"/>
                  </a:cubicBezTo>
                  <a:lnTo>
                    <a:pt x="0" y="594"/>
                  </a:lnTo>
                  <a:cubicBezTo>
                    <a:pt x="4" y="593"/>
                    <a:pt x="8" y="593"/>
                    <a:pt x="12" y="593"/>
                  </a:cubicBezTo>
                  <a:lnTo>
                    <a:pt x="5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310"/>
            <p:cNvSpPr>
              <a:spLocks/>
            </p:cNvSpPr>
            <p:nvPr/>
          </p:nvSpPr>
          <p:spPr bwMode="auto">
            <a:xfrm>
              <a:off x="2421" y="3187"/>
              <a:ext cx="142" cy="133"/>
            </a:xfrm>
            <a:custGeom>
              <a:avLst/>
              <a:gdLst>
                <a:gd name="T0" fmla="*/ 60 w 60"/>
                <a:gd name="T1" fmla="*/ 3 h 56"/>
                <a:gd name="T2" fmla="*/ 52 w 60"/>
                <a:gd name="T3" fmla="*/ 0 h 56"/>
                <a:gd name="T4" fmla="*/ 0 w 60"/>
                <a:gd name="T5" fmla="*/ 52 h 56"/>
                <a:gd name="T6" fmla="*/ 7 w 60"/>
                <a:gd name="T7" fmla="*/ 56 h 56"/>
                <a:gd name="T8" fmla="*/ 60 w 60"/>
                <a:gd name="T9" fmla="*/ 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6">
                  <a:moveTo>
                    <a:pt x="60" y="3"/>
                  </a:moveTo>
                  <a:cubicBezTo>
                    <a:pt x="57" y="2"/>
                    <a:pt x="54" y="1"/>
                    <a:pt x="52" y="0"/>
                  </a:cubicBezTo>
                  <a:lnTo>
                    <a:pt x="0" y="52"/>
                  </a:lnTo>
                  <a:cubicBezTo>
                    <a:pt x="2" y="53"/>
                    <a:pt x="5" y="55"/>
                    <a:pt x="7" y="56"/>
                  </a:cubicBez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311"/>
            <p:cNvSpPr>
              <a:spLocks/>
            </p:cNvSpPr>
            <p:nvPr/>
          </p:nvSpPr>
          <p:spPr bwMode="auto">
            <a:xfrm>
              <a:off x="3809" y="1857"/>
              <a:ext cx="860" cy="887"/>
            </a:xfrm>
            <a:custGeom>
              <a:avLst/>
              <a:gdLst>
                <a:gd name="T0" fmla="*/ 363 w 363"/>
                <a:gd name="T1" fmla="*/ 10 h 374"/>
                <a:gd name="T2" fmla="*/ 363 w 363"/>
                <a:gd name="T3" fmla="*/ 0 h 374"/>
                <a:gd name="T4" fmla="*/ 16 w 363"/>
                <a:gd name="T5" fmla="*/ 347 h 374"/>
                <a:gd name="T6" fmla="*/ 0 w 363"/>
                <a:gd name="T7" fmla="*/ 374 h 374"/>
                <a:gd name="T8" fmla="*/ 363 w 363"/>
                <a:gd name="T9" fmla="*/ 1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74">
                  <a:moveTo>
                    <a:pt x="363" y="10"/>
                  </a:moveTo>
                  <a:cubicBezTo>
                    <a:pt x="363" y="7"/>
                    <a:pt x="363" y="3"/>
                    <a:pt x="363" y="0"/>
                  </a:cubicBezTo>
                  <a:lnTo>
                    <a:pt x="16" y="347"/>
                  </a:lnTo>
                  <a:cubicBezTo>
                    <a:pt x="11" y="356"/>
                    <a:pt x="5" y="366"/>
                    <a:pt x="0" y="374"/>
                  </a:cubicBezTo>
                  <a:lnTo>
                    <a:pt x="36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12"/>
            <p:cNvSpPr>
              <a:spLocks/>
            </p:cNvSpPr>
            <p:nvPr/>
          </p:nvSpPr>
          <p:spPr bwMode="auto">
            <a:xfrm>
              <a:off x="2215" y="3073"/>
              <a:ext cx="116" cy="114"/>
            </a:xfrm>
            <a:custGeom>
              <a:avLst/>
              <a:gdLst>
                <a:gd name="T0" fmla="*/ 49 w 49"/>
                <a:gd name="T1" fmla="*/ 4 h 48"/>
                <a:gd name="T2" fmla="*/ 42 w 49"/>
                <a:gd name="T3" fmla="*/ 0 h 48"/>
                <a:gd name="T4" fmla="*/ 0 w 49"/>
                <a:gd name="T5" fmla="*/ 43 h 48"/>
                <a:gd name="T6" fmla="*/ 6 w 49"/>
                <a:gd name="T7" fmla="*/ 48 h 48"/>
                <a:gd name="T8" fmla="*/ 49 w 49"/>
                <a:gd name="T9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9" y="4"/>
                  </a:moveTo>
                  <a:cubicBezTo>
                    <a:pt x="47" y="3"/>
                    <a:pt x="45" y="1"/>
                    <a:pt x="42" y="0"/>
                  </a:cubicBezTo>
                  <a:lnTo>
                    <a:pt x="0" y="43"/>
                  </a:lnTo>
                  <a:cubicBezTo>
                    <a:pt x="2" y="44"/>
                    <a:pt x="4" y="46"/>
                    <a:pt x="6" y="48"/>
                  </a:cubicBezTo>
                  <a:lnTo>
                    <a:pt x="4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13"/>
            <p:cNvSpPr>
              <a:spLocks/>
            </p:cNvSpPr>
            <p:nvPr/>
          </p:nvSpPr>
          <p:spPr bwMode="auto">
            <a:xfrm>
              <a:off x="3970" y="1565"/>
              <a:ext cx="652" cy="676"/>
            </a:xfrm>
            <a:custGeom>
              <a:avLst/>
              <a:gdLst>
                <a:gd name="T0" fmla="*/ 0 w 275"/>
                <a:gd name="T1" fmla="*/ 273 h 285"/>
                <a:gd name="T2" fmla="*/ 0 w 275"/>
                <a:gd name="T3" fmla="*/ 285 h 285"/>
                <a:gd name="T4" fmla="*/ 275 w 275"/>
                <a:gd name="T5" fmla="*/ 9 h 285"/>
                <a:gd name="T6" fmla="*/ 273 w 275"/>
                <a:gd name="T7" fmla="*/ 0 h 285"/>
                <a:gd name="T8" fmla="*/ 0 w 275"/>
                <a:gd name="T9" fmla="*/ 27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85">
                  <a:moveTo>
                    <a:pt x="0" y="273"/>
                  </a:moveTo>
                  <a:cubicBezTo>
                    <a:pt x="0" y="277"/>
                    <a:pt x="0" y="281"/>
                    <a:pt x="0" y="285"/>
                  </a:cubicBezTo>
                  <a:lnTo>
                    <a:pt x="275" y="9"/>
                  </a:lnTo>
                  <a:cubicBezTo>
                    <a:pt x="275" y="6"/>
                    <a:pt x="274" y="3"/>
                    <a:pt x="273" y="0"/>
                  </a:cubicBezTo>
                  <a:lnTo>
                    <a:pt x="0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14"/>
            <p:cNvSpPr>
              <a:spLocks/>
            </p:cNvSpPr>
            <p:nvPr/>
          </p:nvSpPr>
          <p:spPr bwMode="auto">
            <a:xfrm>
              <a:off x="3968" y="1477"/>
              <a:ext cx="630" cy="648"/>
            </a:xfrm>
            <a:custGeom>
              <a:avLst/>
              <a:gdLst>
                <a:gd name="T0" fmla="*/ 0 w 266"/>
                <a:gd name="T1" fmla="*/ 263 h 273"/>
                <a:gd name="T2" fmla="*/ 1 w 266"/>
                <a:gd name="T3" fmla="*/ 273 h 273"/>
                <a:gd name="T4" fmla="*/ 266 w 266"/>
                <a:gd name="T5" fmla="*/ 8 h 273"/>
                <a:gd name="T6" fmla="*/ 263 w 266"/>
                <a:gd name="T7" fmla="*/ 0 h 273"/>
                <a:gd name="T8" fmla="*/ 0 w 266"/>
                <a:gd name="T9" fmla="*/ 26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273">
                  <a:moveTo>
                    <a:pt x="0" y="263"/>
                  </a:moveTo>
                  <a:cubicBezTo>
                    <a:pt x="0" y="266"/>
                    <a:pt x="1" y="270"/>
                    <a:pt x="1" y="273"/>
                  </a:cubicBezTo>
                  <a:lnTo>
                    <a:pt x="266" y="8"/>
                  </a:lnTo>
                  <a:cubicBezTo>
                    <a:pt x="265" y="6"/>
                    <a:pt x="264" y="3"/>
                    <a:pt x="263" y="0"/>
                  </a:cubicBezTo>
                  <a:lnTo>
                    <a:pt x="0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15"/>
            <p:cNvSpPr>
              <a:spLocks/>
            </p:cNvSpPr>
            <p:nvPr/>
          </p:nvSpPr>
          <p:spPr bwMode="auto">
            <a:xfrm>
              <a:off x="3954" y="1655"/>
              <a:ext cx="689" cy="716"/>
            </a:xfrm>
            <a:custGeom>
              <a:avLst/>
              <a:gdLst>
                <a:gd name="T0" fmla="*/ 0 w 291"/>
                <a:gd name="T1" fmla="*/ 302 h 302"/>
                <a:gd name="T2" fmla="*/ 291 w 291"/>
                <a:gd name="T3" fmla="*/ 10 h 302"/>
                <a:gd name="T4" fmla="*/ 290 w 291"/>
                <a:gd name="T5" fmla="*/ 5 h 302"/>
                <a:gd name="T6" fmla="*/ 289 w 291"/>
                <a:gd name="T7" fmla="*/ 0 h 302"/>
                <a:gd name="T8" fmla="*/ 2 w 291"/>
                <a:gd name="T9" fmla="*/ 288 h 302"/>
                <a:gd name="T10" fmla="*/ 0 w 291"/>
                <a:gd name="T11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302">
                  <a:moveTo>
                    <a:pt x="0" y="302"/>
                  </a:moveTo>
                  <a:lnTo>
                    <a:pt x="291" y="10"/>
                  </a:lnTo>
                  <a:cubicBezTo>
                    <a:pt x="291" y="8"/>
                    <a:pt x="291" y="7"/>
                    <a:pt x="290" y="5"/>
                  </a:cubicBezTo>
                  <a:cubicBezTo>
                    <a:pt x="290" y="3"/>
                    <a:pt x="290" y="2"/>
                    <a:pt x="289" y="0"/>
                  </a:cubicBezTo>
                  <a:lnTo>
                    <a:pt x="2" y="288"/>
                  </a:lnTo>
                  <a:cubicBezTo>
                    <a:pt x="2" y="293"/>
                    <a:pt x="1" y="297"/>
                    <a:pt x="0" y="3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16"/>
            <p:cNvSpPr>
              <a:spLocks/>
            </p:cNvSpPr>
            <p:nvPr/>
          </p:nvSpPr>
          <p:spPr bwMode="auto">
            <a:xfrm>
              <a:off x="1824" y="619"/>
              <a:ext cx="2715" cy="2736"/>
            </a:xfrm>
            <a:custGeom>
              <a:avLst/>
              <a:gdLst>
                <a:gd name="T0" fmla="*/ 1146 w 1146"/>
                <a:gd name="T1" fmla="*/ 9 h 1154"/>
                <a:gd name="T2" fmla="*/ 1144 w 1146"/>
                <a:gd name="T3" fmla="*/ 0 h 1154"/>
                <a:gd name="T4" fmla="*/ 0 w 1146"/>
                <a:gd name="T5" fmla="*/ 1146 h 1154"/>
                <a:gd name="T6" fmla="*/ 4 w 1146"/>
                <a:gd name="T7" fmla="*/ 1154 h 1154"/>
                <a:gd name="T8" fmla="*/ 1146 w 1146"/>
                <a:gd name="T9" fmla="*/ 9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1154">
                  <a:moveTo>
                    <a:pt x="1146" y="9"/>
                  </a:moveTo>
                  <a:cubicBezTo>
                    <a:pt x="1146" y="6"/>
                    <a:pt x="1145" y="3"/>
                    <a:pt x="1144" y="0"/>
                  </a:cubicBezTo>
                  <a:lnTo>
                    <a:pt x="0" y="1146"/>
                  </a:lnTo>
                  <a:cubicBezTo>
                    <a:pt x="1" y="1149"/>
                    <a:pt x="2" y="1151"/>
                    <a:pt x="4" y="1154"/>
                  </a:cubicBezTo>
                  <a:lnTo>
                    <a:pt x="114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17"/>
            <p:cNvSpPr>
              <a:spLocks/>
            </p:cNvSpPr>
            <p:nvPr/>
          </p:nvSpPr>
          <p:spPr bwMode="auto">
            <a:xfrm>
              <a:off x="1873" y="721"/>
              <a:ext cx="2673" cy="2689"/>
            </a:xfrm>
            <a:custGeom>
              <a:avLst/>
              <a:gdLst>
                <a:gd name="T0" fmla="*/ 1128 w 1128"/>
                <a:gd name="T1" fmla="*/ 12 h 1134"/>
                <a:gd name="T2" fmla="*/ 1128 w 1128"/>
                <a:gd name="T3" fmla="*/ 0 h 1134"/>
                <a:gd name="T4" fmla="*/ 0 w 1128"/>
                <a:gd name="T5" fmla="*/ 1130 h 1134"/>
                <a:gd name="T6" fmla="*/ 7 w 1128"/>
                <a:gd name="T7" fmla="*/ 1134 h 1134"/>
                <a:gd name="T8" fmla="*/ 1128 w 1128"/>
                <a:gd name="T9" fmla="*/ 1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8" h="1134">
                  <a:moveTo>
                    <a:pt x="1128" y="12"/>
                  </a:moveTo>
                  <a:cubicBezTo>
                    <a:pt x="1128" y="8"/>
                    <a:pt x="1128" y="4"/>
                    <a:pt x="1128" y="0"/>
                  </a:cubicBezTo>
                  <a:lnTo>
                    <a:pt x="0" y="1130"/>
                  </a:lnTo>
                  <a:cubicBezTo>
                    <a:pt x="2" y="1132"/>
                    <a:pt x="5" y="1133"/>
                    <a:pt x="7" y="1134"/>
                  </a:cubicBezTo>
                  <a:lnTo>
                    <a:pt x="112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18"/>
            <p:cNvSpPr>
              <a:spLocks/>
            </p:cNvSpPr>
            <p:nvPr/>
          </p:nvSpPr>
          <p:spPr bwMode="auto">
            <a:xfrm>
              <a:off x="3913" y="1752"/>
              <a:ext cx="747" cy="773"/>
            </a:xfrm>
            <a:custGeom>
              <a:avLst/>
              <a:gdLst>
                <a:gd name="T0" fmla="*/ 5 w 315"/>
                <a:gd name="T1" fmla="*/ 309 h 326"/>
                <a:gd name="T2" fmla="*/ 0 w 315"/>
                <a:gd name="T3" fmla="*/ 326 h 326"/>
                <a:gd name="T4" fmla="*/ 315 w 315"/>
                <a:gd name="T5" fmla="*/ 10 h 326"/>
                <a:gd name="T6" fmla="*/ 314 w 315"/>
                <a:gd name="T7" fmla="*/ 0 h 326"/>
                <a:gd name="T8" fmla="*/ 5 w 315"/>
                <a:gd name="T9" fmla="*/ 30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" h="326">
                  <a:moveTo>
                    <a:pt x="5" y="309"/>
                  </a:moveTo>
                  <a:cubicBezTo>
                    <a:pt x="4" y="315"/>
                    <a:pt x="2" y="320"/>
                    <a:pt x="0" y="326"/>
                  </a:cubicBezTo>
                  <a:lnTo>
                    <a:pt x="315" y="10"/>
                  </a:lnTo>
                  <a:cubicBezTo>
                    <a:pt x="315" y="7"/>
                    <a:pt x="314" y="4"/>
                    <a:pt x="314" y="0"/>
                  </a:cubicBezTo>
                  <a:lnTo>
                    <a:pt x="5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19"/>
            <p:cNvSpPr>
              <a:spLocks/>
            </p:cNvSpPr>
            <p:nvPr/>
          </p:nvSpPr>
          <p:spPr bwMode="auto">
            <a:xfrm>
              <a:off x="3956" y="1394"/>
              <a:ext cx="611" cy="629"/>
            </a:xfrm>
            <a:custGeom>
              <a:avLst/>
              <a:gdLst>
                <a:gd name="T0" fmla="*/ 0 w 258"/>
                <a:gd name="T1" fmla="*/ 255 h 265"/>
                <a:gd name="T2" fmla="*/ 2 w 258"/>
                <a:gd name="T3" fmla="*/ 265 h 265"/>
                <a:gd name="T4" fmla="*/ 258 w 258"/>
                <a:gd name="T5" fmla="*/ 8 h 265"/>
                <a:gd name="T6" fmla="*/ 255 w 258"/>
                <a:gd name="T7" fmla="*/ 0 h 265"/>
                <a:gd name="T8" fmla="*/ 0 w 258"/>
                <a:gd name="T9" fmla="*/ 25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265">
                  <a:moveTo>
                    <a:pt x="0" y="255"/>
                  </a:moveTo>
                  <a:cubicBezTo>
                    <a:pt x="0" y="258"/>
                    <a:pt x="1" y="261"/>
                    <a:pt x="2" y="265"/>
                  </a:cubicBezTo>
                  <a:lnTo>
                    <a:pt x="258" y="8"/>
                  </a:lnTo>
                  <a:cubicBezTo>
                    <a:pt x="257" y="5"/>
                    <a:pt x="256" y="3"/>
                    <a:pt x="255" y="0"/>
                  </a:cubicBezTo>
                  <a:lnTo>
                    <a:pt x="0" y="2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20"/>
            <p:cNvSpPr>
              <a:spLocks/>
            </p:cNvSpPr>
            <p:nvPr/>
          </p:nvSpPr>
          <p:spPr bwMode="auto">
            <a:xfrm>
              <a:off x="3795" y="1034"/>
              <a:ext cx="566" cy="571"/>
            </a:xfrm>
            <a:custGeom>
              <a:avLst/>
              <a:gdLst>
                <a:gd name="T0" fmla="*/ 0 w 239"/>
                <a:gd name="T1" fmla="*/ 234 h 241"/>
                <a:gd name="T2" fmla="*/ 4 w 239"/>
                <a:gd name="T3" fmla="*/ 241 h 241"/>
                <a:gd name="T4" fmla="*/ 239 w 239"/>
                <a:gd name="T5" fmla="*/ 6 h 241"/>
                <a:gd name="T6" fmla="*/ 234 w 239"/>
                <a:gd name="T7" fmla="*/ 0 h 241"/>
                <a:gd name="T8" fmla="*/ 0 w 239"/>
                <a:gd name="T9" fmla="*/ 23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241">
                  <a:moveTo>
                    <a:pt x="0" y="234"/>
                  </a:moveTo>
                  <a:cubicBezTo>
                    <a:pt x="2" y="236"/>
                    <a:pt x="3" y="239"/>
                    <a:pt x="4" y="241"/>
                  </a:cubicBezTo>
                  <a:lnTo>
                    <a:pt x="239" y="6"/>
                  </a:lnTo>
                  <a:cubicBezTo>
                    <a:pt x="237" y="4"/>
                    <a:pt x="236" y="2"/>
                    <a:pt x="234" y="0"/>
                  </a:cubicBezTo>
                  <a:lnTo>
                    <a:pt x="0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21"/>
            <p:cNvSpPr>
              <a:spLocks/>
            </p:cNvSpPr>
            <p:nvPr/>
          </p:nvSpPr>
          <p:spPr bwMode="auto">
            <a:xfrm>
              <a:off x="3875" y="1167"/>
              <a:ext cx="578" cy="588"/>
            </a:xfrm>
            <a:custGeom>
              <a:avLst/>
              <a:gdLst>
                <a:gd name="T0" fmla="*/ 0 w 244"/>
                <a:gd name="T1" fmla="*/ 240 h 248"/>
                <a:gd name="T2" fmla="*/ 4 w 244"/>
                <a:gd name="T3" fmla="*/ 248 h 248"/>
                <a:gd name="T4" fmla="*/ 244 w 244"/>
                <a:gd name="T5" fmla="*/ 7 h 248"/>
                <a:gd name="T6" fmla="*/ 240 w 244"/>
                <a:gd name="T7" fmla="*/ 0 h 248"/>
                <a:gd name="T8" fmla="*/ 0 w 244"/>
                <a:gd name="T9" fmla="*/ 2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8">
                  <a:moveTo>
                    <a:pt x="0" y="240"/>
                  </a:moveTo>
                  <a:cubicBezTo>
                    <a:pt x="1" y="243"/>
                    <a:pt x="3" y="245"/>
                    <a:pt x="4" y="248"/>
                  </a:cubicBezTo>
                  <a:lnTo>
                    <a:pt x="244" y="7"/>
                  </a:lnTo>
                  <a:cubicBezTo>
                    <a:pt x="243" y="5"/>
                    <a:pt x="241" y="3"/>
                    <a:pt x="240" y="0"/>
                  </a:cubicBezTo>
                  <a:lnTo>
                    <a:pt x="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22"/>
            <p:cNvSpPr>
              <a:spLocks/>
            </p:cNvSpPr>
            <p:nvPr/>
          </p:nvSpPr>
          <p:spPr bwMode="auto">
            <a:xfrm>
              <a:off x="3837" y="1098"/>
              <a:ext cx="571" cy="578"/>
            </a:xfrm>
            <a:custGeom>
              <a:avLst/>
              <a:gdLst>
                <a:gd name="T0" fmla="*/ 0 w 241"/>
                <a:gd name="T1" fmla="*/ 237 h 244"/>
                <a:gd name="T2" fmla="*/ 4 w 241"/>
                <a:gd name="T3" fmla="*/ 244 h 244"/>
                <a:gd name="T4" fmla="*/ 241 w 241"/>
                <a:gd name="T5" fmla="*/ 7 h 244"/>
                <a:gd name="T6" fmla="*/ 237 w 241"/>
                <a:gd name="T7" fmla="*/ 0 h 244"/>
                <a:gd name="T8" fmla="*/ 0 w 241"/>
                <a:gd name="T9" fmla="*/ 23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4">
                  <a:moveTo>
                    <a:pt x="0" y="237"/>
                  </a:moveTo>
                  <a:cubicBezTo>
                    <a:pt x="2" y="239"/>
                    <a:pt x="3" y="242"/>
                    <a:pt x="4" y="244"/>
                  </a:cubicBezTo>
                  <a:lnTo>
                    <a:pt x="241" y="7"/>
                  </a:lnTo>
                  <a:cubicBezTo>
                    <a:pt x="240" y="5"/>
                    <a:pt x="238" y="3"/>
                    <a:pt x="237" y="0"/>
                  </a:cubicBezTo>
                  <a:lnTo>
                    <a:pt x="0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23"/>
            <p:cNvSpPr>
              <a:spLocks/>
            </p:cNvSpPr>
            <p:nvPr/>
          </p:nvSpPr>
          <p:spPr bwMode="auto">
            <a:xfrm>
              <a:off x="3935" y="1316"/>
              <a:ext cx="597" cy="609"/>
            </a:xfrm>
            <a:custGeom>
              <a:avLst/>
              <a:gdLst>
                <a:gd name="T0" fmla="*/ 0 w 252"/>
                <a:gd name="T1" fmla="*/ 248 h 257"/>
                <a:gd name="T2" fmla="*/ 3 w 252"/>
                <a:gd name="T3" fmla="*/ 257 h 257"/>
                <a:gd name="T4" fmla="*/ 252 w 252"/>
                <a:gd name="T5" fmla="*/ 7 h 257"/>
                <a:gd name="T6" fmla="*/ 249 w 252"/>
                <a:gd name="T7" fmla="*/ 0 h 257"/>
                <a:gd name="T8" fmla="*/ 0 w 252"/>
                <a:gd name="T9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257">
                  <a:moveTo>
                    <a:pt x="0" y="248"/>
                  </a:moveTo>
                  <a:cubicBezTo>
                    <a:pt x="1" y="251"/>
                    <a:pt x="2" y="254"/>
                    <a:pt x="3" y="257"/>
                  </a:cubicBezTo>
                  <a:lnTo>
                    <a:pt x="252" y="7"/>
                  </a:lnTo>
                  <a:cubicBezTo>
                    <a:pt x="251" y="5"/>
                    <a:pt x="250" y="2"/>
                    <a:pt x="249" y="0"/>
                  </a:cubicBezTo>
                  <a:lnTo>
                    <a:pt x="0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24"/>
            <p:cNvSpPr>
              <a:spLocks/>
            </p:cNvSpPr>
            <p:nvPr/>
          </p:nvSpPr>
          <p:spPr bwMode="auto">
            <a:xfrm>
              <a:off x="3909" y="1240"/>
              <a:ext cx="585" cy="598"/>
            </a:xfrm>
            <a:custGeom>
              <a:avLst/>
              <a:gdLst>
                <a:gd name="T0" fmla="*/ 0 w 247"/>
                <a:gd name="T1" fmla="*/ 243 h 252"/>
                <a:gd name="T2" fmla="*/ 3 w 247"/>
                <a:gd name="T3" fmla="*/ 252 h 252"/>
                <a:gd name="T4" fmla="*/ 247 w 247"/>
                <a:gd name="T5" fmla="*/ 7 h 252"/>
                <a:gd name="T6" fmla="*/ 243 w 247"/>
                <a:gd name="T7" fmla="*/ 0 h 252"/>
                <a:gd name="T8" fmla="*/ 0 w 247"/>
                <a:gd name="T9" fmla="*/ 24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52">
                  <a:moveTo>
                    <a:pt x="0" y="243"/>
                  </a:moveTo>
                  <a:cubicBezTo>
                    <a:pt x="1" y="246"/>
                    <a:pt x="2" y="249"/>
                    <a:pt x="3" y="252"/>
                  </a:cubicBezTo>
                  <a:lnTo>
                    <a:pt x="247" y="7"/>
                  </a:lnTo>
                  <a:cubicBezTo>
                    <a:pt x="246" y="5"/>
                    <a:pt x="245" y="2"/>
                    <a:pt x="243" y="0"/>
                  </a:cubicBezTo>
                  <a:lnTo>
                    <a:pt x="0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0" name="Grafikk 9">
            <a:extLst>
              <a:ext uri="{FF2B5EF4-FFF2-40B4-BE49-F238E27FC236}">
                <a16:creationId xmlns:a16="http://schemas.microsoft.com/office/drawing/2014/main" id="{6CAEA097-8E2E-6649-9431-F8FE21DF405D}"/>
              </a:ext>
            </a:extLst>
          </p:cNvPr>
          <p:cNvPicPr>
            <a:picLocks noChangeAspect="1"/>
          </p:cNvPicPr>
          <p:nvPr userDrawn="1"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0451429" y="6271064"/>
            <a:ext cx="1237527" cy="33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899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19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6" r:id="rId62"/>
    <p:sldLayoutId id="2147483727" r:id="rId63"/>
    <p:sldLayoutId id="2147483728" r:id="rId64"/>
    <p:sldLayoutId id="2147483729" r:id="rId6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338">
          <p15:clr>
            <a:srgbClr val="F26B43"/>
          </p15:clr>
        </p15:guide>
        <p15:guide id="3" pos="7331">
          <p15:clr>
            <a:srgbClr val="F26B43"/>
          </p15:clr>
        </p15:guide>
        <p15:guide id="5" orient="horz" pos="3748">
          <p15:clr>
            <a:srgbClr val="F26B43"/>
          </p15:clr>
        </p15:guide>
        <p15:guide id="6" orient="horz" pos="1082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4135">
          <p15:clr>
            <a:srgbClr val="F26B43"/>
          </p15:clr>
        </p15:guide>
        <p15:guide id="9" pos="4951">
          <p15:clr>
            <a:srgbClr val="F26B43"/>
          </p15:clr>
        </p15:guide>
        <p15:guide id="10" pos="4725">
          <p15:clr>
            <a:srgbClr val="F26B43"/>
          </p15:clr>
        </p15:guide>
        <p15:guide id="11" pos="3829">
          <p15:clr>
            <a:srgbClr val="F26B43"/>
          </p15:clr>
        </p15:guide>
        <p15:guide id="12" pos="3740">
          <p15:clr>
            <a:srgbClr val="F26B43"/>
          </p15:clr>
        </p15:guide>
        <p15:guide id="13" pos="391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3F5106D-54DE-69ED-9D0C-32088A37D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5517210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7772400" imgH="10058400" progId="TCLayout.ActiveDocument.1">
                  <p:embed/>
                </p:oleObj>
              </mc:Choice>
              <mc:Fallback>
                <p:oleObj name="think-cell Slide" r:id="rId66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3F5106D-54DE-69ED-9D0C-32088A37D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6575" y="453412"/>
            <a:ext cx="11101388" cy="689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399" y="1717676"/>
            <a:ext cx="11104563" cy="4232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4133" y="612097"/>
            <a:ext cx="1657799" cy="324000"/>
          </a:xfrm>
          <a:prstGeom prst="rect">
            <a:avLst/>
          </a:prstGeom>
        </p:spPr>
      </p:pic>
      <p:sp>
        <p:nvSpPr>
          <p:cNvPr id="9" name="Hellogo" hidden="1"/>
          <p:cNvSpPr>
            <a:spLocks noChangeAspect="1" noEditPoints="1"/>
          </p:cNvSpPr>
          <p:nvPr/>
        </p:nvSpPr>
        <p:spPr bwMode="auto">
          <a:xfrm>
            <a:off x="4656000" y="2056975"/>
            <a:ext cx="2880000" cy="2744050"/>
          </a:xfrm>
          <a:custGeom>
            <a:avLst/>
            <a:gdLst>
              <a:gd name="T0" fmla="*/ 319 w 337"/>
              <a:gd name="T1" fmla="*/ 129 h 321"/>
              <a:gd name="T2" fmla="*/ 289 w 337"/>
              <a:gd name="T3" fmla="*/ 64 h 321"/>
              <a:gd name="T4" fmla="*/ 305 w 337"/>
              <a:gd name="T5" fmla="*/ 48 h 321"/>
              <a:gd name="T6" fmla="*/ 308 w 337"/>
              <a:gd name="T7" fmla="*/ 21 h 321"/>
              <a:gd name="T8" fmla="*/ 292 w 337"/>
              <a:gd name="T9" fmla="*/ 13 h 321"/>
              <a:gd name="T10" fmla="*/ 265 w 337"/>
              <a:gd name="T11" fmla="*/ 40 h 321"/>
              <a:gd name="T12" fmla="*/ 137 w 337"/>
              <a:gd name="T13" fmla="*/ 9 h 321"/>
              <a:gd name="T14" fmla="*/ 17 w 337"/>
              <a:gd name="T15" fmla="*/ 191 h 321"/>
              <a:gd name="T16" fmla="*/ 48 w 337"/>
              <a:gd name="T17" fmla="*/ 257 h 321"/>
              <a:gd name="T18" fmla="*/ 36 w 337"/>
              <a:gd name="T19" fmla="*/ 269 h 321"/>
              <a:gd name="T20" fmla="*/ 33 w 337"/>
              <a:gd name="T21" fmla="*/ 296 h 321"/>
              <a:gd name="T22" fmla="*/ 49 w 337"/>
              <a:gd name="T23" fmla="*/ 304 h 321"/>
              <a:gd name="T24" fmla="*/ 72 w 337"/>
              <a:gd name="T25" fmla="*/ 281 h 321"/>
              <a:gd name="T26" fmla="*/ 199 w 337"/>
              <a:gd name="T27" fmla="*/ 311 h 321"/>
              <a:gd name="T28" fmla="*/ 319 w 337"/>
              <a:gd name="T29" fmla="*/ 129 h 321"/>
              <a:gd name="T30" fmla="*/ 87 w 337"/>
              <a:gd name="T31" fmla="*/ 161 h 321"/>
              <a:gd name="T32" fmla="*/ 172 w 337"/>
              <a:gd name="T33" fmla="*/ 33 h 321"/>
              <a:gd name="T34" fmla="*/ 255 w 337"/>
              <a:gd name="T35" fmla="*/ 50 h 321"/>
              <a:gd name="T36" fmla="*/ 104 w 337"/>
              <a:gd name="T37" fmla="*/ 201 h 321"/>
              <a:gd name="T38" fmla="*/ 87 w 337"/>
              <a:gd name="T39" fmla="*/ 161 h 321"/>
              <a:gd name="T40" fmla="*/ 165 w 337"/>
              <a:gd name="T41" fmla="*/ 287 h 321"/>
              <a:gd name="T42" fmla="*/ 82 w 337"/>
              <a:gd name="T43" fmla="*/ 271 h 321"/>
              <a:gd name="T44" fmla="*/ 233 w 337"/>
              <a:gd name="T45" fmla="*/ 120 h 321"/>
              <a:gd name="T46" fmla="*/ 249 w 337"/>
              <a:gd name="T47" fmla="*/ 159 h 321"/>
              <a:gd name="T48" fmla="*/ 165 w 337"/>
              <a:gd name="T49" fmla="*/ 28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7" h="321">
                <a:moveTo>
                  <a:pt x="319" y="129"/>
                </a:moveTo>
                <a:cubicBezTo>
                  <a:pt x="314" y="105"/>
                  <a:pt x="304" y="83"/>
                  <a:pt x="289" y="64"/>
                </a:cubicBezTo>
                <a:cubicBezTo>
                  <a:pt x="305" y="48"/>
                  <a:pt x="305" y="48"/>
                  <a:pt x="305" y="48"/>
                </a:cubicBezTo>
                <a:cubicBezTo>
                  <a:pt x="310" y="43"/>
                  <a:pt x="311" y="31"/>
                  <a:pt x="308" y="21"/>
                </a:cubicBezTo>
                <a:cubicBezTo>
                  <a:pt x="304" y="11"/>
                  <a:pt x="297" y="8"/>
                  <a:pt x="292" y="13"/>
                </a:cubicBezTo>
                <a:cubicBezTo>
                  <a:pt x="265" y="40"/>
                  <a:pt x="265" y="40"/>
                  <a:pt x="265" y="40"/>
                </a:cubicBezTo>
                <a:cubicBezTo>
                  <a:pt x="230" y="12"/>
                  <a:pt x="184" y="0"/>
                  <a:pt x="137" y="9"/>
                </a:cubicBezTo>
                <a:cubicBezTo>
                  <a:pt x="54" y="26"/>
                  <a:pt x="0" y="108"/>
                  <a:pt x="17" y="191"/>
                </a:cubicBezTo>
                <a:cubicBezTo>
                  <a:pt x="22" y="216"/>
                  <a:pt x="33" y="238"/>
                  <a:pt x="48" y="257"/>
                </a:cubicBezTo>
                <a:cubicBezTo>
                  <a:pt x="36" y="269"/>
                  <a:pt x="36" y="269"/>
                  <a:pt x="36" y="269"/>
                </a:cubicBezTo>
                <a:cubicBezTo>
                  <a:pt x="30" y="274"/>
                  <a:pt x="29" y="286"/>
                  <a:pt x="33" y="296"/>
                </a:cubicBezTo>
                <a:cubicBezTo>
                  <a:pt x="36" y="306"/>
                  <a:pt x="44" y="309"/>
                  <a:pt x="49" y="304"/>
                </a:cubicBezTo>
                <a:cubicBezTo>
                  <a:pt x="72" y="281"/>
                  <a:pt x="72" y="281"/>
                  <a:pt x="72" y="281"/>
                </a:cubicBezTo>
                <a:cubicBezTo>
                  <a:pt x="107" y="308"/>
                  <a:pt x="153" y="321"/>
                  <a:pt x="199" y="311"/>
                </a:cubicBezTo>
                <a:cubicBezTo>
                  <a:pt x="283" y="294"/>
                  <a:pt x="337" y="213"/>
                  <a:pt x="319" y="129"/>
                </a:cubicBezTo>
                <a:moveTo>
                  <a:pt x="87" y="161"/>
                </a:moveTo>
                <a:cubicBezTo>
                  <a:pt x="75" y="103"/>
                  <a:pt x="113" y="45"/>
                  <a:pt x="172" y="33"/>
                </a:cubicBezTo>
                <a:cubicBezTo>
                  <a:pt x="202" y="27"/>
                  <a:pt x="231" y="34"/>
                  <a:pt x="255" y="50"/>
                </a:cubicBezTo>
                <a:cubicBezTo>
                  <a:pt x="104" y="201"/>
                  <a:pt x="104" y="201"/>
                  <a:pt x="104" y="201"/>
                </a:cubicBezTo>
                <a:cubicBezTo>
                  <a:pt x="96" y="189"/>
                  <a:pt x="90" y="176"/>
                  <a:pt x="87" y="161"/>
                </a:cubicBezTo>
                <a:moveTo>
                  <a:pt x="165" y="287"/>
                </a:moveTo>
                <a:cubicBezTo>
                  <a:pt x="135" y="293"/>
                  <a:pt x="106" y="287"/>
                  <a:pt x="82" y="271"/>
                </a:cubicBezTo>
                <a:cubicBezTo>
                  <a:pt x="233" y="120"/>
                  <a:pt x="233" y="120"/>
                  <a:pt x="233" y="120"/>
                </a:cubicBezTo>
                <a:cubicBezTo>
                  <a:pt x="241" y="132"/>
                  <a:pt x="246" y="145"/>
                  <a:pt x="249" y="159"/>
                </a:cubicBezTo>
                <a:cubicBezTo>
                  <a:pt x="261" y="218"/>
                  <a:pt x="223" y="275"/>
                  <a:pt x="165" y="287"/>
                </a:cubicBezTo>
              </a:path>
            </a:pathLst>
          </a:custGeom>
          <a:solidFill>
            <a:srgbClr val="00AE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1" name="Kantlogo" hidden="1"/>
          <p:cNvSpPr>
            <a:spLocks noChangeAspect="1" noEditPoints="1"/>
          </p:cNvSpPr>
          <p:nvPr/>
        </p:nvSpPr>
        <p:spPr bwMode="auto">
          <a:xfrm>
            <a:off x="4656000" y="2054372"/>
            <a:ext cx="2880000" cy="2749256"/>
          </a:xfrm>
          <a:custGeom>
            <a:avLst/>
            <a:gdLst>
              <a:gd name="T0" fmla="*/ 315 w 332"/>
              <a:gd name="T1" fmla="*/ 128 h 317"/>
              <a:gd name="T2" fmla="*/ 285 w 332"/>
              <a:gd name="T3" fmla="*/ 64 h 317"/>
              <a:gd name="T4" fmla="*/ 301 w 332"/>
              <a:gd name="T5" fmla="*/ 48 h 317"/>
              <a:gd name="T6" fmla="*/ 304 w 332"/>
              <a:gd name="T7" fmla="*/ 21 h 317"/>
              <a:gd name="T8" fmla="*/ 288 w 332"/>
              <a:gd name="T9" fmla="*/ 13 h 317"/>
              <a:gd name="T10" fmla="*/ 261 w 332"/>
              <a:gd name="T11" fmla="*/ 40 h 317"/>
              <a:gd name="T12" fmla="*/ 135 w 332"/>
              <a:gd name="T13" fmla="*/ 10 h 317"/>
              <a:gd name="T14" fmla="*/ 17 w 332"/>
              <a:gd name="T15" fmla="*/ 189 h 317"/>
              <a:gd name="T16" fmla="*/ 47 w 332"/>
              <a:gd name="T17" fmla="*/ 254 h 317"/>
              <a:gd name="T18" fmla="*/ 35 w 332"/>
              <a:gd name="T19" fmla="*/ 266 h 317"/>
              <a:gd name="T20" fmla="*/ 32 w 332"/>
              <a:gd name="T21" fmla="*/ 293 h 317"/>
              <a:gd name="T22" fmla="*/ 48 w 332"/>
              <a:gd name="T23" fmla="*/ 301 h 317"/>
              <a:gd name="T24" fmla="*/ 71 w 332"/>
              <a:gd name="T25" fmla="*/ 278 h 317"/>
              <a:gd name="T26" fmla="*/ 196 w 332"/>
              <a:gd name="T27" fmla="*/ 308 h 317"/>
              <a:gd name="T28" fmla="*/ 315 w 332"/>
              <a:gd name="T29" fmla="*/ 128 h 317"/>
              <a:gd name="T30" fmla="*/ 86 w 332"/>
              <a:gd name="T31" fmla="*/ 160 h 317"/>
              <a:gd name="T32" fmla="*/ 169 w 332"/>
              <a:gd name="T33" fmla="*/ 33 h 317"/>
              <a:gd name="T34" fmla="*/ 251 w 332"/>
              <a:gd name="T35" fmla="*/ 50 h 317"/>
              <a:gd name="T36" fmla="*/ 102 w 332"/>
              <a:gd name="T37" fmla="*/ 199 h 317"/>
              <a:gd name="T38" fmla="*/ 86 w 332"/>
              <a:gd name="T39" fmla="*/ 160 h 317"/>
              <a:gd name="T40" fmla="*/ 162 w 332"/>
              <a:gd name="T41" fmla="*/ 284 h 317"/>
              <a:gd name="T42" fmla="*/ 81 w 332"/>
              <a:gd name="T43" fmla="*/ 268 h 317"/>
              <a:gd name="T44" fmla="*/ 230 w 332"/>
              <a:gd name="T45" fmla="*/ 119 h 317"/>
              <a:gd name="T46" fmla="*/ 246 w 332"/>
              <a:gd name="T47" fmla="*/ 158 h 317"/>
              <a:gd name="T48" fmla="*/ 162 w 332"/>
              <a:gd name="T49" fmla="*/ 284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2" h="317">
                <a:moveTo>
                  <a:pt x="315" y="128"/>
                </a:moveTo>
                <a:cubicBezTo>
                  <a:pt x="310" y="104"/>
                  <a:pt x="299" y="82"/>
                  <a:pt x="285" y="64"/>
                </a:cubicBezTo>
                <a:cubicBezTo>
                  <a:pt x="301" y="48"/>
                  <a:pt x="301" y="48"/>
                  <a:pt x="301" y="48"/>
                </a:cubicBezTo>
                <a:cubicBezTo>
                  <a:pt x="306" y="43"/>
                  <a:pt x="307" y="31"/>
                  <a:pt x="304" y="21"/>
                </a:cubicBezTo>
                <a:cubicBezTo>
                  <a:pt x="300" y="12"/>
                  <a:pt x="293" y="8"/>
                  <a:pt x="288" y="13"/>
                </a:cubicBezTo>
                <a:cubicBezTo>
                  <a:pt x="261" y="40"/>
                  <a:pt x="261" y="40"/>
                  <a:pt x="261" y="40"/>
                </a:cubicBezTo>
                <a:cubicBezTo>
                  <a:pt x="227" y="13"/>
                  <a:pt x="182" y="0"/>
                  <a:pt x="135" y="10"/>
                </a:cubicBezTo>
                <a:cubicBezTo>
                  <a:pt x="53" y="26"/>
                  <a:pt x="0" y="107"/>
                  <a:pt x="17" y="189"/>
                </a:cubicBezTo>
                <a:cubicBezTo>
                  <a:pt x="22" y="214"/>
                  <a:pt x="32" y="236"/>
                  <a:pt x="47" y="254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30" y="271"/>
                  <a:pt x="29" y="283"/>
                  <a:pt x="32" y="293"/>
                </a:cubicBezTo>
                <a:cubicBezTo>
                  <a:pt x="36" y="302"/>
                  <a:pt x="43" y="306"/>
                  <a:pt x="48" y="301"/>
                </a:cubicBezTo>
                <a:cubicBezTo>
                  <a:pt x="71" y="278"/>
                  <a:pt x="71" y="278"/>
                  <a:pt x="71" y="278"/>
                </a:cubicBezTo>
                <a:cubicBezTo>
                  <a:pt x="105" y="305"/>
                  <a:pt x="150" y="317"/>
                  <a:pt x="196" y="308"/>
                </a:cubicBezTo>
                <a:cubicBezTo>
                  <a:pt x="279" y="291"/>
                  <a:pt x="332" y="211"/>
                  <a:pt x="315" y="128"/>
                </a:cubicBezTo>
                <a:moveTo>
                  <a:pt x="86" y="160"/>
                </a:moveTo>
                <a:cubicBezTo>
                  <a:pt x="74" y="102"/>
                  <a:pt x="111" y="45"/>
                  <a:pt x="169" y="33"/>
                </a:cubicBezTo>
                <a:cubicBezTo>
                  <a:pt x="199" y="27"/>
                  <a:pt x="228" y="34"/>
                  <a:pt x="251" y="50"/>
                </a:cubicBezTo>
                <a:cubicBezTo>
                  <a:pt x="102" y="199"/>
                  <a:pt x="102" y="199"/>
                  <a:pt x="102" y="199"/>
                </a:cubicBezTo>
                <a:cubicBezTo>
                  <a:pt x="95" y="187"/>
                  <a:pt x="89" y="174"/>
                  <a:pt x="86" y="160"/>
                </a:cubicBezTo>
                <a:moveTo>
                  <a:pt x="162" y="284"/>
                </a:moveTo>
                <a:cubicBezTo>
                  <a:pt x="133" y="290"/>
                  <a:pt x="104" y="283"/>
                  <a:pt x="81" y="268"/>
                </a:cubicBezTo>
                <a:cubicBezTo>
                  <a:pt x="230" y="119"/>
                  <a:pt x="230" y="119"/>
                  <a:pt x="230" y="119"/>
                </a:cubicBezTo>
                <a:cubicBezTo>
                  <a:pt x="237" y="130"/>
                  <a:pt x="243" y="143"/>
                  <a:pt x="246" y="158"/>
                </a:cubicBezTo>
                <a:cubicBezTo>
                  <a:pt x="258" y="216"/>
                  <a:pt x="220" y="272"/>
                  <a:pt x="162" y="284"/>
                </a:cubicBezTo>
              </a:path>
            </a:pathLst>
          </a:custGeom>
          <a:noFill/>
          <a:ln w="1587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grpSp>
        <p:nvGrpSpPr>
          <p:cNvPr id="73" name="Skravertlogo" hidden="1"/>
          <p:cNvGrpSpPr>
            <a:grpSpLocks noChangeAspect="1"/>
          </p:cNvGrpSpPr>
          <p:nvPr/>
        </p:nvGrpSpPr>
        <p:grpSpPr bwMode="auto">
          <a:xfrm>
            <a:off x="4656000" y="1987582"/>
            <a:ext cx="2880000" cy="2882836"/>
            <a:chOff x="1627" y="448"/>
            <a:chExt cx="3047" cy="3050"/>
          </a:xfrm>
          <a:solidFill>
            <a:schemeClr val="accent1"/>
          </a:solidFill>
        </p:grpSpPr>
        <p:sp>
          <p:nvSpPr>
            <p:cNvPr id="74" name="Freeform 265"/>
            <p:cNvSpPr>
              <a:spLocks/>
            </p:cNvSpPr>
            <p:nvPr/>
          </p:nvSpPr>
          <p:spPr bwMode="auto">
            <a:xfrm>
              <a:off x="1629" y="1145"/>
              <a:ext cx="898" cy="927"/>
            </a:xfrm>
            <a:custGeom>
              <a:avLst/>
              <a:gdLst>
                <a:gd name="T0" fmla="*/ 358 w 379"/>
                <a:gd name="T1" fmla="*/ 33 h 391"/>
                <a:gd name="T2" fmla="*/ 379 w 379"/>
                <a:gd name="T3" fmla="*/ 0 h 391"/>
                <a:gd name="T4" fmla="*/ 0 w 379"/>
                <a:gd name="T5" fmla="*/ 380 h 391"/>
                <a:gd name="T6" fmla="*/ 1 w 379"/>
                <a:gd name="T7" fmla="*/ 391 h 391"/>
                <a:gd name="T8" fmla="*/ 358 w 379"/>
                <a:gd name="T9" fmla="*/ 3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391">
                  <a:moveTo>
                    <a:pt x="358" y="33"/>
                  </a:moveTo>
                  <a:cubicBezTo>
                    <a:pt x="364" y="22"/>
                    <a:pt x="372" y="11"/>
                    <a:pt x="379" y="0"/>
                  </a:cubicBezTo>
                  <a:lnTo>
                    <a:pt x="0" y="380"/>
                  </a:lnTo>
                  <a:cubicBezTo>
                    <a:pt x="0" y="384"/>
                    <a:pt x="0" y="387"/>
                    <a:pt x="1" y="391"/>
                  </a:cubicBezTo>
                  <a:lnTo>
                    <a:pt x="35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66"/>
            <p:cNvSpPr>
              <a:spLocks/>
            </p:cNvSpPr>
            <p:nvPr/>
          </p:nvSpPr>
          <p:spPr bwMode="auto">
            <a:xfrm>
              <a:off x="1674" y="1684"/>
              <a:ext cx="659" cy="683"/>
            </a:xfrm>
            <a:custGeom>
              <a:avLst/>
              <a:gdLst>
                <a:gd name="T0" fmla="*/ 277 w 278"/>
                <a:gd name="T1" fmla="*/ 13 h 288"/>
                <a:gd name="T2" fmla="*/ 278 w 278"/>
                <a:gd name="T3" fmla="*/ 0 h 288"/>
                <a:gd name="T4" fmla="*/ 0 w 278"/>
                <a:gd name="T5" fmla="*/ 279 h 288"/>
                <a:gd name="T6" fmla="*/ 2 w 278"/>
                <a:gd name="T7" fmla="*/ 288 h 288"/>
                <a:gd name="T8" fmla="*/ 277 w 278"/>
                <a:gd name="T9" fmla="*/ 1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88">
                  <a:moveTo>
                    <a:pt x="277" y="13"/>
                  </a:moveTo>
                  <a:cubicBezTo>
                    <a:pt x="277" y="9"/>
                    <a:pt x="277" y="5"/>
                    <a:pt x="278" y="0"/>
                  </a:cubicBezTo>
                  <a:lnTo>
                    <a:pt x="0" y="279"/>
                  </a:lnTo>
                  <a:cubicBezTo>
                    <a:pt x="0" y="282"/>
                    <a:pt x="1" y="285"/>
                    <a:pt x="2" y="288"/>
                  </a:cubicBezTo>
                  <a:lnTo>
                    <a:pt x="27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7"/>
            <p:cNvSpPr>
              <a:spLocks/>
            </p:cNvSpPr>
            <p:nvPr/>
          </p:nvSpPr>
          <p:spPr bwMode="auto">
            <a:xfrm>
              <a:off x="1653" y="1553"/>
              <a:ext cx="697" cy="721"/>
            </a:xfrm>
            <a:custGeom>
              <a:avLst/>
              <a:gdLst>
                <a:gd name="T0" fmla="*/ 292 w 294"/>
                <a:gd name="T1" fmla="*/ 13 h 304"/>
                <a:gd name="T2" fmla="*/ 294 w 294"/>
                <a:gd name="T3" fmla="*/ 0 h 304"/>
                <a:gd name="T4" fmla="*/ 0 w 294"/>
                <a:gd name="T5" fmla="*/ 294 h 304"/>
                <a:gd name="T6" fmla="*/ 2 w 294"/>
                <a:gd name="T7" fmla="*/ 304 h 304"/>
                <a:gd name="T8" fmla="*/ 292 w 294"/>
                <a:gd name="T9" fmla="*/ 1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304">
                  <a:moveTo>
                    <a:pt x="292" y="13"/>
                  </a:moveTo>
                  <a:cubicBezTo>
                    <a:pt x="293" y="9"/>
                    <a:pt x="293" y="4"/>
                    <a:pt x="294" y="0"/>
                  </a:cubicBezTo>
                  <a:lnTo>
                    <a:pt x="0" y="294"/>
                  </a:lnTo>
                  <a:cubicBezTo>
                    <a:pt x="1" y="297"/>
                    <a:pt x="1" y="301"/>
                    <a:pt x="2" y="304"/>
                  </a:cubicBezTo>
                  <a:lnTo>
                    <a:pt x="29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68"/>
            <p:cNvSpPr>
              <a:spLocks/>
            </p:cNvSpPr>
            <p:nvPr/>
          </p:nvSpPr>
          <p:spPr bwMode="auto">
            <a:xfrm>
              <a:off x="1639" y="1392"/>
              <a:ext cx="758" cy="785"/>
            </a:xfrm>
            <a:custGeom>
              <a:avLst/>
              <a:gdLst>
                <a:gd name="T0" fmla="*/ 314 w 320"/>
                <a:gd name="T1" fmla="*/ 17 h 331"/>
                <a:gd name="T2" fmla="*/ 320 w 320"/>
                <a:gd name="T3" fmla="*/ 0 h 331"/>
                <a:gd name="T4" fmla="*/ 0 w 320"/>
                <a:gd name="T5" fmla="*/ 321 h 331"/>
                <a:gd name="T6" fmla="*/ 1 w 320"/>
                <a:gd name="T7" fmla="*/ 331 h 331"/>
                <a:gd name="T8" fmla="*/ 314 w 320"/>
                <a:gd name="T9" fmla="*/ 1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331">
                  <a:moveTo>
                    <a:pt x="314" y="17"/>
                  </a:moveTo>
                  <a:cubicBezTo>
                    <a:pt x="316" y="11"/>
                    <a:pt x="318" y="5"/>
                    <a:pt x="320" y="0"/>
                  </a:cubicBezTo>
                  <a:lnTo>
                    <a:pt x="0" y="321"/>
                  </a:lnTo>
                  <a:cubicBezTo>
                    <a:pt x="0" y="324"/>
                    <a:pt x="0" y="327"/>
                    <a:pt x="1" y="331"/>
                  </a:cubicBezTo>
                  <a:lnTo>
                    <a:pt x="31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69"/>
            <p:cNvSpPr>
              <a:spLocks/>
            </p:cNvSpPr>
            <p:nvPr/>
          </p:nvSpPr>
          <p:spPr bwMode="auto">
            <a:xfrm>
              <a:off x="1793" y="493"/>
              <a:ext cx="2658" cy="2673"/>
            </a:xfrm>
            <a:custGeom>
              <a:avLst/>
              <a:gdLst>
                <a:gd name="T0" fmla="*/ 1122 w 1122"/>
                <a:gd name="T1" fmla="*/ 3 h 1127"/>
                <a:gd name="T2" fmla="*/ 1114 w 1122"/>
                <a:gd name="T3" fmla="*/ 0 h 1127"/>
                <a:gd name="T4" fmla="*/ 3 w 1122"/>
                <a:gd name="T5" fmla="*/ 1113 h 1127"/>
                <a:gd name="T6" fmla="*/ 0 w 1122"/>
                <a:gd name="T7" fmla="*/ 1127 h 1127"/>
                <a:gd name="T8" fmla="*/ 1122 w 1122"/>
                <a:gd name="T9" fmla="*/ 3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1127">
                  <a:moveTo>
                    <a:pt x="1122" y="3"/>
                  </a:moveTo>
                  <a:cubicBezTo>
                    <a:pt x="1119" y="2"/>
                    <a:pt x="1117" y="1"/>
                    <a:pt x="1114" y="0"/>
                  </a:cubicBezTo>
                  <a:lnTo>
                    <a:pt x="3" y="1113"/>
                  </a:lnTo>
                  <a:cubicBezTo>
                    <a:pt x="2" y="1118"/>
                    <a:pt x="1" y="1122"/>
                    <a:pt x="0" y="1127"/>
                  </a:cubicBezTo>
                  <a:lnTo>
                    <a:pt x="11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70"/>
            <p:cNvSpPr>
              <a:spLocks/>
            </p:cNvSpPr>
            <p:nvPr/>
          </p:nvSpPr>
          <p:spPr bwMode="auto">
            <a:xfrm>
              <a:off x="2776" y="450"/>
              <a:ext cx="472" cy="446"/>
            </a:xfrm>
            <a:custGeom>
              <a:avLst/>
              <a:gdLst>
                <a:gd name="T0" fmla="*/ 0 w 199"/>
                <a:gd name="T1" fmla="*/ 188 h 188"/>
                <a:gd name="T2" fmla="*/ 33 w 199"/>
                <a:gd name="T3" fmla="*/ 167 h 188"/>
                <a:gd name="T4" fmla="*/ 199 w 199"/>
                <a:gd name="T5" fmla="*/ 0 h 188"/>
                <a:gd name="T6" fmla="*/ 188 w 199"/>
                <a:gd name="T7" fmla="*/ 0 h 188"/>
                <a:gd name="T8" fmla="*/ 0 w 199"/>
                <a:gd name="T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88">
                  <a:moveTo>
                    <a:pt x="0" y="188"/>
                  </a:moveTo>
                  <a:cubicBezTo>
                    <a:pt x="11" y="180"/>
                    <a:pt x="22" y="173"/>
                    <a:pt x="33" y="167"/>
                  </a:cubicBezTo>
                  <a:lnTo>
                    <a:pt x="199" y="0"/>
                  </a:lnTo>
                  <a:cubicBezTo>
                    <a:pt x="195" y="0"/>
                    <a:pt x="192" y="0"/>
                    <a:pt x="188" y="0"/>
                  </a:cubicBezTo>
                  <a:lnTo>
                    <a:pt x="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71"/>
            <p:cNvSpPr>
              <a:spLocks/>
            </p:cNvSpPr>
            <p:nvPr/>
          </p:nvSpPr>
          <p:spPr bwMode="auto">
            <a:xfrm>
              <a:off x="3181" y="474"/>
              <a:ext cx="268" cy="244"/>
            </a:xfrm>
            <a:custGeom>
              <a:avLst/>
              <a:gdLst>
                <a:gd name="T0" fmla="*/ 0 w 113"/>
                <a:gd name="T1" fmla="*/ 103 h 103"/>
                <a:gd name="T2" fmla="*/ 1 w 113"/>
                <a:gd name="T3" fmla="*/ 103 h 103"/>
                <a:gd name="T4" fmla="*/ 14 w 113"/>
                <a:gd name="T5" fmla="*/ 101 h 103"/>
                <a:gd name="T6" fmla="*/ 113 w 113"/>
                <a:gd name="T7" fmla="*/ 1 h 103"/>
                <a:gd name="T8" fmla="*/ 104 w 113"/>
                <a:gd name="T9" fmla="*/ 0 h 103"/>
                <a:gd name="T10" fmla="*/ 0 w 113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103">
                  <a:moveTo>
                    <a:pt x="0" y="103"/>
                  </a:moveTo>
                  <a:cubicBezTo>
                    <a:pt x="1" y="103"/>
                    <a:pt x="1" y="103"/>
                    <a:pt x="1" y="103"/>
                  </a:cubicBezTo>
                  <a:cubicBezTo>
                    <a:pt x="5" y="102"/>
                    <a:pt x="10" y="101"/>
                    <a:pt x="14" y="101"/>
                  </a:cubicBezTo>
                  <a:lnTo>
                    <a:pt x="113" y="1"/>
                  </a:lnTo>
                  <a:cubicBezTo>
                    <a:pt x="110" y="1"/>
                    <a:pt x="107" y="0"/>
                    <a:pt x="104" y="0"/>
                  </a:cubicBezTo>
                  <a:lnTo>
                    <a:pt x="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72"/>
            <p:cNvSpPr>
              <a:spLocks/>
            </p:cNvSpPr>
            <p:nvPr/>
          </p:nvSpPr>
          <p:spPr bwMode="auto">
            <a:xfrm>
              <a:off x="1840" y="2177"/>
              <a:ext cx="578" cy="590"/>
            </a:xfrm>
            <a:custGeom>
              <a:avLst/>
              <a:gdLst>
                <a:gd name="T0" fmla="*/ 244 w 244"/>
                <a:gd name="T1" fmla="*/ 8 h 249"/>
                <a:gd name="T2" fmla="*/ 241 w 244"/>
                <a:gd name="T3" fmla="*/ 0 h 249"/>
                <a:gd name="T4" fmla="*/ 0 w 244"/>
                <a:gd name="T5" fmla="*/ 242 h 249"/>
                <a:gd name="T6" fmla="*/ 4 w 244"/>
                <a:gd name="T7" fmla="*/ 249 h 249"/>
                <a:gd name="T8" fmla="*/ 244 w 244"/>
                <a:gd name="T9" fmla="*/ 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9">
                  <a:moveTo>
                    <a:pt x="244" y="8"/>
                  </a:moveTo>
                  <a:cubicBezTo>
                    <a:pt x="243" y="6"/>
                    <a:pt x="242" y="3"/>
                    <a:pt x="241" y="0"/>
                  </a:cubicBezTo>
                  <a:lnTo>
                    <a:pt x="0" y="242"/>
                  </a:lnTo>
                  <a:cubicBezTo>
                    <a:pt x="1" y="244"/>
                    <a:pt x="3" y="246"/>
                    <a:pt x="4" y="249"/>
                  </a:cubicBezTo>
                  <a:lnTo>
                    <a:pt x="24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3"/>
            <p:cNvSpPr>
              <a:spLocks/>
            </p:cNvSpPr>
            <p:nvPr/>
          </p:nvSpPr>
          <p:spPr bwMode="auto">
            <a:xfrm>
              <a:off x="1883" y="2255"/>
              <a:ext cx="573" cy="581"/>
            </a:xfrm>
            <a:custGeom>
              <a:avLst/>
              <a:gdLst>
                <a:gd name="T0" fmla="*/ 242 w 242"/>
                <a:gd name="T1" fmla="*/ 8 h 245"/>
                <a:gd name="T2" fmla="*/ 238 w 242"/>
                <a:gd name="T3" fmla="*/ 0 h 245"/>
                <a:gd name="T4" fmla="*/ 0 w 242"/>
                <a:gd name="T5" fmla="*/ 238 h 245"/>
                <a:gd name="T6" fmla="*/ 5 w 242"/>
                <a:gd name="T7" fmla="*/ 245 h 245"/>
                <a:gd name="T8" fmla="*/ 242 w 242"/>
                <a:gd name="T9" fmla="*/ 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5">
                  <a:moveTo>
                    <a:pt x="242" y="8"/>
                  </a:moveTo>
                  <a:cubicBezTo>
                    <a:pt x="240" y="5"/>
                    <a:pt x="239" y="3"/>
                    <a:pt x="238" y="0"/>
                  </a:cubicBezTo>
                  <a:lnTo>
                    <a:pt x="0" y="238"/>
                  </a:lnTo>
                  <a:cubicBezTo>
                    <a:pt x="2" y="240"/>
                    <a:pt x="3" y="243"/>
                    <a:pt x="5" y="245"/>
                  </a:cubicBezTo>
                  <a:lnTo>
                    <a:pt x="24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74"/>
            <p:cNvSpPr>
              <a:spLocks/>
            </p:cNvSpPr>
            <p:nvPr/>
          </p:nvSpPr>
          <p:spPr bwMode="auto">
            <a:xfrm>
              <a:off x="1930" y="2329"/>
              <a:ext cx="569" cy="574"/>
            </a:xfrm>
            <a:custGeom>
              <a:avLst/>
              <a:gdLst>
                <a:gd name="T0" fmla="*/ 240 w 240"/>
                <a:gd name="T1" fmla="*/ 7 h 242"/>
                <a:gd name="T2" fmla="*/ 235 w 240"/>
                <a:gd name="T3" fmla="*/ 0 h 242"/>
                <a:gd name="T4" fmla="*/ 0 w 240"/>
                <a:gd name="T5" fmla="*/ 235 h 242"/>
                <a:gd name="T6" fmla="*/ 5 w 240"/>
                <a:gd name="T7" fmla="*/ 242 h 242"/>
                <a:gd name="T8" fmla="*/ 240 w 240"/>
                <a:gd name="T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2">
                  <a:moveTo>
                    <a:pt x="240" y="7"/>
                  </a:moveTo>
                  <a:cubicBezTo>
                    <a:pt x="238" y="5"/>
                    <a:pt x="237" y="2"/>
                    <a:pt x="235" y="0"/>
                  </a:cubicBezTo>
                  <a:lnTo>
                    <a:pt x="0" y="235"/>
                  </a:lnTo>
                  <a:cubicBezTo>
                    <a:pt x="2" y="237"/>
                    <a:pt x="4" y="240"/>
                    <a:pt x="5" y="242"/>
                  </a:cubicBezTo>
                  <a:lnTo>
                    <a:pt x="24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75"/>
            <p:cNvSpPr>
              <a:spLocks/>
            </p:cNvSpPr>
            <p:nvPr/>
          </p:nvSpPr>
          <p:spPr bwMode="auto">
            <a:xfrm>
              <a:off x="1729" y="1906"/>
              <a:ext cx="613" cy="631"/>
            </a:xfrm>
            <a:custGeom>
              <a:avLst/>
              <a:gdLst>
                <a:gd name="T0" fmla="*/ 259 w 259"/>
                <a:gd name="T1" fmla="*/ 10 h 266"/>
                <a:gd name="T2" fmla="*/ 257 w 259"/>
                <a:gd name="T3" fmla="*/ 0 h 266"/>
                <a:gd name="T4" fmla="*/ 0 w 259"/>
                <a:gd name="T5" fmla="*/ 258 h 266"/>
                <a:gd name="T6" fmla="*/ 3 w 259"/>
                <a:gd name="T7" fmla="*/ 266 h 266"/>
                <a:gd name="T8" fmla="*/ 259 w 259"/>
                <a:gd name="T9" fmla="*/ 1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6">
                  <a:moveTo>
                    <a:pt x="259" y="10"/>
                  </a:moveTo>
                  <a:cubicBezTo>
                    <a:pt x="258" y="7"/>
                    <a:pt x="258" y="4"/>
                    <a:pt x="257" y="0"/>
                  </a:cubicBezTo>
                  <a:lnTo>
                    <a:pt x="0" y="258"/>
                  </a:lnTo>
                  <a:cubicBezTo>
                    <a:pt x="1" y="261"/>
                    <a:pt x="2" y="264"/>
                    <a:pt x="3" y="266"/>
                  </a:cubicBezTo>
                  <a:lnTo>
                    <a:pt x="25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276"/>
            <p:cNvSpPr>
              <a:spLocks/>
            </p:cNvSpPr>
            <p:nvPr/>
          </p:nvSpPr>
          <p:spPr bwMode="auto">
            <a:xfrm>
              <a:off x="1800" y="2094"/>
              <a:ext cx="588" cy="600"/>
            </a:xfrm>
            <a:custGeom>
              <a:avLst/>
              <a:gdLst>
                <a:gd name="T0" fmla="*/ 248 w 248"/>
                <a:gd name="T1" fmla="*/ 8 h 253"/>
                <a:gd name="T2" fmla="*/ 245 w 248"/>
                <a:gd name="T3" fmla="*/ 0 h 253"/>
                <a:gd name="T4" fmla="*/ 0 w 248"/>
                <a:gd name="T5" fmla="*/ 246 h 253"/>
                <a:gd name="T6" fmla="*/ 3 w 248"/>
                <a:gd name="T7" fmla="*/ 253 h 253"/>
                <a:gd name="T8" fmla="*/ 248 w 248"/>
                <a:gd name="T9" fmla="*/ 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53">
                  <a:moveTo>
                    <a:pt x="248" y="8"/>
                  </a:moveTo>
                  <a:cubicBezTo>
                    <a:pt x="247" y="6"/>
                    <a:pt x="246" y="3"/>
                    <a:pt x="245" y="0"/>
                  </a:cubicBezTo>
                  <a:lnTo>
                    <a:pt x="0" y="246"/>
                  </a:lnTo>
                  <a:cubicBezTo>
                    <a:pt x="1" y="248"/>
                    <a:pt x="2" y="250"/>
                    <a:pt x="3" y="253"/>
                  </a:cubicBezTo>
                  <a:lnTo>
                    <a:pt x="24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77"/>
            <p:cNvSpPr>
              <a:spLocks/>
            </p:cNvSpPr>
            <p:nvPr/>
          </p:nvSpPr>
          <p:spPr bwMode="auto">
            <a:xfrm>
              <a:off x="1698" y="1802"/>
              <a:ext cx="633" cy="652"/>
            </a:xfrm>
            <a:custGeom>
              <a:avLst/>
              <a:gdLst>
                <a:gd name="T0" fmla="*/ 267 w 267"/>
                <a:gd name="T1" fmla="*/ 11 h 275"/>
                <a:gd name="T2" fmla="*/ 266 w 267"/>
                <a:gd name="T3" fmla="*/ 0 h 275"/>
                <a:gd name="T4" fmla="*/ 0 w 267"/>
                <a:gd name="T5" fmla="*/ 266 h 275"/>
                <a:gd name="T6" fmla="*/ 3 w 267"/>
                <a:gd name="T7" fmla="*/ 275 h 275"/>
                <a:gd name="T8" fmla="*/ 267 w 267"/>
                <a:gd name="T9" fmla="*/ 1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5">
                  <a:moveTo>
                    <a:pt x="267" y="11"/>
                  </a:moveTo>
                  <a:cubicBezTo>
                    <a:pt x="267" y="7"/>
                    <a:pt x="267" y="3"/>
                    <a:pt x="266" y="0"/>
                  </a:cubicBezTo>
                  <a:lnTo>
                    <a:pt x="0" y="266"/>
                  </a:lnTo>
                  <a:cubicBezTo>
                    <a:pt x="1" y="269"/>
                    <a:pt x="2" y="272"/>
                    <a:pt x="3" y="275"/>
                  </a:cubicBezTo>
                  <a:lnTo>
                    <a:pt x="26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78"/>
            <p:cNvSpPr>
              <a:spLocks/>
            </p:cNvSpPr>
            <p:nvPr/>
          </p:nvSpPr>
          <p:spPr bwMode="auto">
            <a:xfrm>
              <a:off x="1762" y="2004"/>
              <a:ext cx="599" cy="614"/>
            </a:xfrm>
            <a:custGeom>
              <a:avLst/>
              <a:gdLst>
                <a:gd name="T0" fmla="*/ 253 w 253"/>
                <a:gd name="T1" fmla="*/ 9 h 259"/>
                <a:gd name="T2" fmla="*/ 250 w 253"/>
                <a:gd name="T3" fmla="*/ 0 h 259"/>
                <a:gd name="T4" fmla="*/ 0 w 253"/>
                <a:gd name="T5" fmla="*/ 251 h 259"/>
                <a:gd name="T6" fmla="*/ 3 w 253"/>
                <a:gd name="T7" fmla="*/ 259 h 259"/>
                <a:gd name="T8" fmla="*/ 253 w 253"/>
                <a:gd name="T9" fmla="*/ 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259">
                  <a:moveTo>
                    <a:pt x="253" y="9"/>
                  </a:moveTo>
                  <a:cubicBezTo>
                    <a:pt x="252" y="6"/>
                    <a:pt x="251" y="3"/>
                    <a:pt x="250" y="0"/>
                  </a:cubicBezTo>
                  <a:lnTo>
                    <a:pt x="0" y="251"/>
                  </a:lnTo>
                  <a:cubicBezTo>
                    <a:pt x="1" y="254"/>
                    <a:pt x="2" y="256"/>
                    <a:pt x="3" y="259"/>
                  </a:cubicBezTo>
                  <a:lnTo>
                    <a:pt x="25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279"/>
            <p:cNvSpPr>
              <a:spLocks/>
            </p:cNvSpPr>
            <p:nvPr/>
          </p:nvSpPr>
          <p:spPr bwMode="auto">
            <a:xfrm>
              <a:off x="3020" y="457"/>
              <a:ext cx="332" cy="309"/>
            </a:xfrm>
            <a:custGeom>
              <a:avLst/>
              <a:gdLst>
                <a:gd name="T0" fmla="*/ 0 w 140"/>
                <a:gd name="T1" fmla="*/ 130 h 130"/>
                <a:gd name="T2" fmla="*/ 18 w 140"/>
                <a:gd name="T3" fmla="*/ 124 h 130"/>
                <a:gd name="T4" fmla="*/ 140 w 140"/>
                <a:gd name="T5" fmla="*/ 2 h 130"/>
                <a:gd name="T6" fmla="*/ 130 w 140"/>
                <a:gd name="T7" fmla="*/ 0 h 130"/>
                <a:gd name="T8" fmla="*/ 0 w 140"/>
                <a:gd name="T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0">
                  <a:moveTo>
                    <a:pt x="0" y="130"/>
                  </a:moveTo>
                  <a:cubicBezTo>
                    <a:pt x="6" y="128"/>
                    <a:pt x="12" y="126"/>
                    <a:pt x="18" y="124"/>
                  </a:cubicBezTo>
                  <a:lnTo>
                    <a:pt x="140" y="2"/>
                  </a:lnTo>
                  <a:cubicBezTo>
                    <a:pt x="137" y="1"/>
                    <a:pt x="133" y="1"/>
                    <a:pt x="130" y="0"/>
                  </a:cubicBezTo>
                  <a:lnTo>
                    <a:pt x="0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280"/>
            <p:cNvSpPr>
              <a:spLocks/>
            </p:cNvSpPr>
            <p:nvPr/>
          </p:nvSpPr>
          <p:spPr bwMode="auto">
            <a:xfrm>
              <a:off x="1684" y="505"/>
              <a:ext cx="1054" cy="1058"/>
            </a:xfrm>
            <a:custGeom>
              <a:avLst/>
              <a:gdLst>
                <a:gd name="T0" fmla="*/ 445 w 445"/>
                <a:gd name="T1" fmla="*/ 0 h 446"/>
                <a:gd name="T2" fmla="*/ 429 w 445"/>
                <a:gd name="T3" fmla="*/ 5 h 446"/>
                <a:gd name="T4" fmla="*/ 4 w 445"/>
                <a:gd name="T5" fmla="*/ 430 h 446"/>
                <a:gd name="T6" fmla="*/ 0 w 445"/>
                <a:gd name="T7" fmla="*/ 446 h 446"/>
                <a:gd name="T8" fmla="*/ 445 w 445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6">
                  <a:moveTo>
                    <a:pt x="445" y="0"/>
                  </a:moveTo>
                  <a:cubicBezTo>
                    <a:pt x="439" y="2"/>
                    <a:pt x="434" y="3"/>
                    <a:pt x="429" y="5"/>
                  </a:cubicBezTo>
                  <a:lnTo>
                    <a:pt x="4" y="430"/>
                  </a:lnTo>
                  <a:cubicBezTo>
                    <a:pt x="3" y="435"/>
                    <a:pt x="1" y="441"/>
                    <a:pt x="0" y="446"/>
                  </a:cubicBezTo>
                  <a:lnTo>
                    <a:pt x="4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281"/>
            <p:cNvSpPr>
              <a:spLocks/>
            </p:cNvSpPr>
            <p:nvPr/>
          </p:nvSpPr>
          <p:spPr bwMode="auto">
            <a:xfrm>
              <a:off x="1651" y="472"/>
              <a:ext cx="1234" cy="1238"/>
            </a:xfrm>
            <a:custGeom>
              <a:avLst/>
              <a:gdLst>
                <a:gd name="T0" fmla="*/ 521 w 521"/>
                <a:gd name="T1" fmla="*/ 0 h 522"/>
                <a:gd name="T2" fmla="*/ 507 w 521"/>
                <a:gd name="T3" fmla="*/ 2 h 522"/>
                <a:gd name="T4" fmla="*/ 2 w 521"/>
                <a:gd name="T5" fmla="*/ 508 h 522"/>
                <a:gd name="T6" fmla="*/ 0 w 521"/>
                <a:gd name="T7" fmla="*/ 522 h 522"/>
                <a:gd name="T8" fmla="*/ 521 w 521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522">
                  <a:moveTo>
                    <a:pt x="521" y="0"/>
                  </a:moveTo>
                  <a:cubicBezTo>
                    <a:pt x="517" y="1"/>
                    <a:pt x="512" y="2"/>
                    <a:pt x="507" y="2"/>
                  </a:cubicBezTo>
                  <a:lnTo>
                    <a:pt x="2" y="508"/>
                  </a:lnTo>
                  <a:cubicBezTo>
                    <a:pt x="1" y="513"/>
                    <a:pt x="0" y="518"/>
                    <a:pt x="0" y="522"/>
                  </a:cubicBezTo>
                  <a:lnTo>
                    <a:pt x="5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82"/>
            <p:cNvSpPr>
              <a:spLocks/>
            </p:cNvSpPr>
            <p:nvPr/>
          </p:nvSpPr>
          <p:spPr bwMode="auto">
            <a:xfrm>
              <a:off x="1632" y="453"/>
              <a:ext cx="1386" cy="1389"/>
            </a:xfrm>
            <a:custGeom>
              <a:avLst/>
              <a:gdLst>
                <a:gd name="T0" fmla="*/ 585 w 585"/>
                <a:gd name="T1" fmla="*/ 0 h 586"/>
                <a:gd name="T2" fmla="*/ 572 w 585"/>
                <a:gd name="T3" fmla="*/ 2 h 586"/>
                <a:gd name="T4" fmla="*/ 2 w 585"/>
                <a:gd name="T5" fmla="*/ 573 h 586"/>
                <a:gd name="T6" fmla="*/ 0 w 585"/>
                <a:gd name="T7" fmla="*/ 586 h 586"/>
                <a:gd name="T8" fmla="*/ 585 w 585"/>
                <a:gd name="T9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5" h="586">
                  <a:moveTo>
                    <a:pt x="585" y="0"/>
                  </a:moveTo>
                  <a:cubicBezTo>
                    <a:pt x="581" y="1"/>
                    <a:pt x="576" y="1"/>
                    <a:pt x="572" y="2"/>
                  </a:cubicBezTo>
                  <a:lnTo>
                    <a:pt x="2" y="573"/>
                  </a:lnTo>
                  <a:cubicBezTo>
                    <a:pt x="1" y="577"/>
                    <a:pt x="1" y="581"/>
                    <a:pt x="0" y="586"/>
                  </a:cubicBezTo>
                  <a:lnTo>
                    <a:pt x="58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83"/>
            <p:cNvSpPr>
              <a:spLocks/>
            </p:cNvSpPr>
            <p:nvPr/>
          </p:nvSpPr>
          <p:spPr bwMode="auto">
            <a:xfrm>
              <a:off x="3146" y="1966"/>
              <a:ext cx="1528" cy="1532"/>
            </a:xfrm>
            <a:custGeom>
              <a:avLst/>
              <a:gdLst>
                <a:gd name="T0" fmla="*/ 645 w 645"/>
                <a:gd name="T1" fmla="*/ 0 h 646"/>
                <a:gd name="T2" fmla="*/ 0 w 645"/>
                <a:gd name="T3" fmla="*/ 646 h 646"/>
                <a:gd name="T4" fmla="*/ 11 w 645"/>
                <a:gd name="T5" fmla="*/ 646 h 646"/>
                <a:gd name="T6" fmla="*/ 644 w 645"/>
                <a:gd name="T7" fmla="*/ 11 h 646"/>
                <a:gd name="T8" fmla="*/ 645 w 645"/>
                <a:gd name="T9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646">
                  <a:moveTo>
                    <a:pt x="645" y="0"/>
                  </a:moveTo>
                  <a:lnTo>
                    <a:pt x="0" y="646"/>
                  </a:lnTo>
                  <a:cubicBezTo>
                    <a:pt x="3" y="646"/>
                    <a:pt x="7" y="646"/>
                    <a:pt x="11" y="646"/>
                  </a:cubicBezTo>
                  <a:lnTo>
                    <a:pt x="644" y="11"/>
                  </a:lnTo>
                  <a:cubicBezTo>
                    <a:pt x="645" y="7"/>
                    <a:pt x="645" y="4"/>
                    <a:pt x="6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84"/>
            <p:cNvSpPr>
              <a:spLocks/>
            </p:cNvSpPr>
            <p:nvPr/>
          </p:nvSpPr>
          <p:spPr bwMode="auto">
            <a:xfrm>
              <a:off x="1743" y="567"/>
              <a:ext cx="820" cy="820"/>
            </a:xfrm>
            <a:custGeom>
              <a:avLst/>
              <a:gdLst>
                <a:gd name="T0" fmla="*/ 346 w 346"/>
                <a:gd name="T1" fmla="*/ 0 h 346"/>
                <a:gd name="T2" fmla="*/ 326 w 346"/>
                <a:gd name="T3" fmla="*/ 8 h 346"/>
                <a:gd name="T4" fmla="*/ 9 w 346"/>
                <a:gd name="T5" fmla="*/ 326 h 346"/>
                <a:gd name="T6" fmla="*/ 0 w 346"/>
                <a:gd name="T7" fmla="*/ 346 h 346"/>
                <a:gd name="T8" fmla="*/ 346 w 346"/>
                <a:gd name="T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340" y="2"/>
                    <a:pt x="333" y="5"/>
                    <a:pt x="326" y="8"/>
                  </a:cubicBezTo>
                  <a:lnTo>
                    <a:pt x="9" y="326"/>
                  </a:lnTo>
                  <a:cubicBezTo>
                    <a:pt x="6" y="333"/>
                    <a:pt x="3" y="339"/>
                    <a:pt x="0" y="346"/>
                  </a:cubicBez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85"/>
            <p:cNvSpPr>
              <a:spLocks/>
            </p:cNvSpPr>
            <p:nvPr/>
          </p:nvSpPr>
          <p:spPr bwMode="auto">
            <a:xfrm>
              <a:off x="1627" y="448"/>
              <a:ext cx="1509" cy="1513"/>
            </a:xfrm>
            <a:custGeom>
              <a:avLst/>
              <a:gdLst>
                <a:gd name="T0" fmla="*/ 637 w 637"/>
                <a:gd name="T1" fmla="*/ 0 h 638"/>
                <a:gd name="T2" fmla="*/ 626 w 637"/>
                <a:gd name="T3" fmla="*/ 0 h 638"/>
                <a:gd name="T4" fmla="*/ 0 w 637"/>
                <a:gd name="T5" fmla="*/ 627 h 638"/>
                <a:gd name="T6" fmla="*/ 0 w 637"/>
                <a:gd name="T7" fmla="*/ 638 h 638"/>
                <a:gd name="T8" fmla="*/ 637 w 63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7" h="638">
                  <a:moveTo>
                    <a:pt x="637" y="0"/>
                  </a:moveTo>
                  <a:cubicBezTo>
                    <a:pt x="633" y="0"/>
                    <a:pt x="630" y="0"/>
                    <a:pt x="626" y="0"/>
                  </a:cubicBezTo>
                  <a:lnTo>
                    <a:pt x="0" y="627"/>
                  </a:lnTo>
                  <a:cubicBezTo>
                    <a:pt x="0" y="630"/>
                    <a:pt x="0" y="634"/>
                    <a:pt x="0" y="638"/>
                  </a:cubicBezTo>
                  <a:lnTo>
                    <a:pt x="6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86"/>
            <p:cNvSpPr>
              <a:spLocks/>
            </p:cNvSpPr>
            <p:nvPr/>
          </p:nvSpPr>
          <p:spPr bwMode="auto">
            <a:xfrm>
              <a:off x="1871" y="692"/>
              <a:ext cx="453" cy="453"/>
            </a:xfrm>
            <a:custGeom>
              <a:avLst/>
              <a:gdLst>
                <a:gd name="T0" fmla="*/ 191 w 191"/>
                <a:gd name="T1" fmla="*/ 0 h 191"/>
                <a:gd name="T2" fmla="*/ 154 w 191"/>
                <a:gd name="T3" fmla="*/ 26 h 191"/>
                <a:gd name="T4" fmla="*/ 26 w 191"/>
                <a:gd name="T5" fmla="*/ 154 h 191"/>
                <a:gd name="T6" fmla="*/ 0 w 191"/>
                <a:gd name="T7" fmla="*/ 191 h 191"/>
                <a:gd name="T8" fmla="*/ 191 w 191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91">
                  <a:moveTo>
                    <a:pt x="191" y="0"/>
                  </a:moveTo>
                  <a:cubicBezTo>
                    <a:pt x="178" y="8"/>
                    <a:pt x="166" y="17"/>
                    <a:pt x="154" y="26"/>
                  </a:cubicBezTo>
                  <a:lnTo>
                    <a:pt x="26" y="154"/>
                  </a:lnTo>
                  <a:cubicBezTo>
                    <a:pt x="17" y="166"/>
                    <a:pt x="8" y="179"/>
                    <a:pt x="0" y="191"/>
                  </a:cubicBezTo>
                  <a:lnTo>
                    <a:pt x="1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287"/>
            <p:cNvSpPr>
              <a:spLocks/>
            </p:cNvSpPr>
            <p:nvPr/>
          </p:nvSpPr>
          <p:spPr bwMode="auto">
            <a:xfrm>
              <a:off x="3885" y="704"/>
              <a:ext cx="125" cy="119"/>
            </a:xfrm>
            <a:custGeom>
              <a:avLst/>
              <a:gdLst>
                <a:gd name="T0" fmla="*/ 0 w 53"/>
                <a:gd name="T1" fmla="*/ 46 h 50"/>
                <a:gd name="T2" fmla="*/ 7 w 53"/>
                <a:gd name="T3" fmla="*/ 50 h 50"/>
                <a:gd name="T4" fmla="*/ 53 w 53"/>
                <a:gd name="T5" fmla="*/ 4 h 50"/>
                <a:gd name="T6" fmla="*/ 46 w 53"/>
                <a:gd name="T7" fmla="*/ 0 h 50"/>
                <a:gd name="T8" fmla="*/ 0 w 53"/>
                <a:gd name="T9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0" y="46"/>
                  </a:moveTo>
                  <a:cubicBezTo>
                    <a:pt x="2" y="48"/>
                    <a:pt x="5" y="49"/>
                    <a:pt x="7" y="50"/>
                  </a:cubicBezTo>
                  <a:lnTo>
                    <a:pt x="53" y="4"/>
                  </a:lnTo>
                  <a:cubicBezTo>
                    <a:pt x="51" y="3"/>
                    <a:pt x="48" y="1"/>
                    <a:pt x="46" y="0"/>
                  </a:cubicBez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88"/>
            <p:cNvSpPr>
              <a:spLocks/>
            </p:cNvSpPr>
            <p:nvPr/>
          </p:nvSpPr>
          <p:spPr bwMode="auto">
            <a:xfrm>
              <a:off x="3724" y="619"/>
              <a:ext cx="144" cy="135"/>
            </a:xfrm>
            <a:custGeom>
              <a:avLst/>
              <a:gdLst>
                <a:gd name="T0" fmla="*/ 0 w 61"/>
                <a:gd name="T1" fmla="*/ 54 h 57"/>
                <a:gd name="T2" fmla="*/ 8 w 61"/>
                <a:gd name="T3" fmla="*/ 57 h 57"/>
                <a:gd name="T4" fmla="*/ 61 w 61"/>
                <a:gd name="T5" fmla="*/ 4 h 57"/>
                <a:gd name="T6" fmla="*/ 54 w 61"/>
                <a:gd name="T7" fmla="*/ 0 h 57"/>
                <a:gd name="T8" fmla="*/ 0 w 61"/>
                <a:gd name="T9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7">
                  <a:moveTo>
                    <a:pt x="0" y="54"/>
                  </a:moveTo>
                  <a:cubicBezTo>
                    <a:pt x="3" y="55"/>
                    <a:pt x="5" y="56"/>
                    <a:pt x="8" y="57"/>
                  </a:cubicBezTo>
                  <a:lnTo>
                    <a:pt x="61" y="4"/>
                  </a:lnTo>
                  <a:cubicBezTo>
                    <a:pt x="59" y="3"/>
                    <a:pt x="56" y="1"/>
                    <a:pt x="54" y="0"/>
                  </a:cubicBez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89"/>
            <p:cNvSpPr>
              <a:spLocks/>
            </p:cNvSpPr>
            <p:nvPr/>
          </p:nvSpPr>
          <p:spPr bwMode="auto">
            <a:xfrm>
              <a:off x="3958" y="752"/>
              <a:ext cx="119" cy="113"/>
            </a:xfrm>
            <a:custGeom>
              <a:avLst/>
              <a:gdLst>
                <a:gd name="T0" fmla="*/ 43 w 50"/>
                <a:gd name="T1" fmla="*/ 0 h 48"/>
                <a:gd name="T2" fmla="*/ 0 w 50"/>
                <a:gd name="T3" fmla="*/ 43 h 48"/>
                <a:gd name="T4" fmla="*/ 7 w 50"/>
                <a:gd name="T5" fmla="*/ 48 h 48"/>
                <a:gd name="T6" fmla="*/ 50 w 50"/>
                <a:gd name="T7" fmla="*/ 5 h 48"/>
                <a:gd name="T8" fmla="*/ 43 w 5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8">
                  <a:moveTo>
                    <a:pt x="43" y="0"/>
                  </a:moveTo>
                  <a:lnTo>
                    <a:pt x="0" y="43"/>
                  </a:lnTo>
                  <a:cubicBezTo>
                    <a:pt x="2" y="45"/>
                    <a:pt x="4" y="46"/>
                    <a:pt x="7" y="48"/>
                  </a:cubicBezTo>
                  <a:lnTo>
                    <a:pt x="50" y="5"/>
                  </a:lnTo>
                  <a:cubicBezTo>
                    <a:pt x="48" y="3"/>
                    <a:pt x="45" y="1"/>
                    <a:pt x="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90"/>
            <p:cNvSpPr>
              <a:spLocks/>
            </p:cNvSpPr>
            <p:nvPr/>
          </p:nvSpPr>
          <p:spPr bwMode="auto">
            <a:xfrm>
              <a:off x="3430" y="519"/>
              <a:ext cx="199" cy="178"/>
            </a:xfrm>
            <a:custGeom>
              <a:avLst/>
              <a:gdLst>
                <a:gd name="T0" fmla="*/ 0 w 84"/>
                <a:gd name="T1" fmla="*/ 75 h 75"/>
                <a:gd name="T2" fmla="*/ 11 w 84"/>
                <a:gd name="T3" fmla="*/ 75 h 75"/>
                <a:gd name="T4" fmla="*/ 84 w 84"/>
                <a:gd name="T5" fmla="*/ 3 h 75"/>
                <a:gd name="T6" fmla="*/ 76 w 84"/>
                <a:gd name="T7" fmla="*/ 0 h 75"/>
                <a:gd name="T8" fmla="*/ 0 w 84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5">
                  <a:moveTo>
                    <a:pt x="0" y="75"/>
                  </a:moveTo>
                  <a:cubicBezTo>
                    <a:pt x="4" y="75"/>
                    <a:pt x="8" y="75"/>
                    <a:pt x="11" y="75"/>
                  </a:cubicBezTo>
                  <a:lnTo>
                    <a:pt x="84" y="3"/>
                  </a:lnTo>
                  <a:cubicBezTo>
                    <a:pt x="81" y="2"/>
                    <a:pt x="78" y="1"/>
                    <a:pt x="76" y="0"/>
                  </a:cubicBez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1"/>
            <p:cNvSpPr>
              <a:spLocks/>
            </p:cNvSpPr>
            <p:nvPr/>
          </p:nvSpPr>
          <p:spPr bwMode="auto">
            <a:xfrm>
              <a:off x="3537" y="548"/>
              <a:ext cx="175" cy="161"/>
            </a:xfrm>
            <a:custGeom>
              <a:avLst/>
              <a:gdLst>
                <a:gd name="T0" fmla="*/ 0 w 74"/>
                <a:gd name="T1" fmla="*/ 67 h 68"/>
                <a:gd name="T2" fmla="*/ 10 w 74"/>
                <a:gd name="T3" fmla="*/ 68 h 68"/>
                <a:gd name="T4" fmla="*/ 74 w 74"/>
                <a:gd name="T5" fmla="*/ 4 h 68"/>
                <a:gd name="T6" fmla="*/ 66 w 74"/>
                <a:gd name="T7" fmla="*/ 0 h 68"/>
                <a:gd name="T8" fmla="*/ 0 w 74"/>
                <a:gd name="T9" fmla="*/ 6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8">
                  <a:moveTo>
                    <a:pt x="0" y="67"/>
                  </a:moveTo>
                  <a:cubicBezTo>
                    <a:pt x="3" y="67"/>
                    <a:pt x="7" y="67"/>
                    <a:pt x="10" y="68"/>
                  </a:cubicBezTo>
                  <a:lnTo>
                    <a:pt x="74" y="4"/>
                  </a:lnTo>
                  <a:cubicBezTo>
                    <a:pt x="72" y="2"/>
                    <a:pt x="69" y="1"/>
                    <a:pt x="66" y="0"/>
                  </a:cubicBez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292"/>
            <p:cNvSpPr>
              <a:spLocks/>
            </p:cNvSpPr>
            <p:nvPr/>
          </p:nvSpPr>
          <p:spPr bwMode="auto">
            <a:xfrm>
              <a:off x="3807" y="659"/>
              <a:ext cx="135" cy="126"/>
            </a:xfrm>
            <a:custGeom>
              <a:avLst/>
              <a:gdLst>
                <a:gd name="T0" fmla="*/ 0 w 57"/>
                <a:gd name="T1" fmla="*/ 50 h 53"/>
                <a:gd name="T2" fmla="*/ 8 w 57"/>
                <a:gd name="T3" fmla="*/ 53 h 53"/>
                <a:gd name="T4" fmla="*/ 57 w 57"/>
                <a:gd name="T5" fmla="*/ 5 h 53"/>
                <a:gd name="T6" fmla="*/ 50 w 57"/>
                <a:gd name="T7" fmla="*/ 0 h 53"/>
                <a:gd name="T8" fmla="*/ 0 w 57"/>
                <a:gd name="T9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3">
                  <a:moveTo>
                    <a:pt x="0" y="50"/>
                  </a:moveTo>
                  <a:cubicBezTo>
                    <a:pt x="3" y="51"/>
                    <a:pt x="5" y="52"/>
                    <a:pt x="8" y="53"/>
                  </a:cubicBezTo>
                  <a:lnTo>
                    <a:pt x="57" y="5"/>
                  </a:lnTo>
                  <a:cubicBezTo>
                    <a:pt x="54" y="3"/>
                    <a:pt x="52" y="2"/>
                    <a:pt x="50" y="0"/>
                  </a:cubicBezTo>
                  <a:lnTo>
                    <a:pt x="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293"/>
            <p:cNvSpPr>
              <a:spLocks/>
            </p:cNvSpPr>
            <p:nvPr/>
          </p:nvSpPr>
          <p:spPr bwMode="auto">
            <a:xfrm>
              <a:off x="3314" y="493"/>
              <a:ext cx="227" cy="206"/>
            </a:xfrm>
            <a:custGeom>
              <a:avLst/>
              <a:gdLst>
                <a:gd name="T0" fmla="*/ 0 w 96"/>
                <a:gd name="T1" fmla="*/ 87 h 87"/>
                <a:gd name="T2" fmla="*/ 12 w 96"/>
                <a:gd name="T3" fmla="*/ 86 h 87"/>
                <a:gd name="T4" fmla="*/ 96 w 96"/>
                <a:gd name="T5" fmla="*/ 3 h 87"/>
                <a:gd name="T6" fmla="*/ 87 w 96"/>
                <a:gd name="T7" fmla="*/ 0 h 87"/>
                <a:gd name="T8" fmla="*/ 0 w 96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7">
                  <a:moveTo>
                    <a:pt x="0" y="87"/>
                  </a:moveTo>
                  <a:cubicBezTo>
                    <a:pt x="4" y="87"/>
                    <a:pt x="8" y="87"/>
                    <a:pt x="12" y="86"/>
                  </a:cubicBezTo>
                  <a:lnTo>
                    <a:pt x="96" y="3"/>
                  </a:lnTo>
                  <a:cubicBezTo>
                    <a:pt x="93" y="2"/>
                    <a:pt x="90" y="1"/>
                    <a:pt x="87" y="0"/>
                  </a:cubicBez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294"/>
            <p:cNvSpPr>
              <a:spLocks/>
            </p:cNvSpPr>
            <p:nvPr/>
          </p:nvSpPr>
          <p:spPr bwMode="auto">
            <a:xfrm>
              <a:off x="3634" y="583"/>
              <a:ext cx="158" cy="145"/>
            </a:xfrm>
            <a:custGeom>
              <a:avLst/>
              <a:gdLst>
                <a:gd name="T0" fmla="*/ 0 w 67"/>
                <a:gd name="T1" fmla="*/ 59 h 61"/>
                <a:gd name="T2" fmla="*/ 9 w 67"/>
                <a:gd name="T3" fmla="*/ 61 h 61"/>
                <a:gd name="T4" fmla="*/ 67 w 67"/>
                <a:gd name="T5" fmla="*/ 3 h 61"/>
                <a:gd name="T6" fmla="*/ 59 w 67"/>
                <a:gd name="T7" fmla="*/ 0 h 61"/>
                <a:gd name="T8" fmla="*/ 0 w 67"/>
                <a:gd name="T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0" y="59"/>
                  </a:moveTo>
                  <a:cubicBezTo>
                    <a:pt x="3" y="60"/>
                    <a:pt x="6" y="60"/>
                    <a:pt x="9" y="61"/>
                  </a:cubicBezTo>
                  <a:lnTo>
                    <a:pt x="67" y="3"/>
                  </a:lnTo>
                  <a:cubicBezTo>
                    <a:pt x="64" y="2"/>
                    <a:pt x="62" y="1"/>
                    <a:pt x="59" y="0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295"/>
            <p:cNvSpPr>
              <a:spLocks/>
            </p:cNvSpPr>
            <p:nvPr/>
          </p:nvSpPr>
          <p:spPr bwMode="auto">
            <a:xfrm>
              <a:off x="2835" y="3230"/>
              <a:ext cx="261" cy="239"/>
            </a:xfrm>
            <a:custGeom>
              <a:avLst/>
              <a:gdLst>
                <a:gd name="T0" fmla="*/ 110 w 110"/>
                <a:gd name="T1" fmla="*/ 0 h 101"/>
                <a:gd name="T2" fmla="*/ 96 w 110"/>
                <a:gd name="T3" fmla="*/ 3 h 101"/>
                <a:gd name="T4" fmla="*/ 0 w 110"/>
                <a:gd name="T5" fmla="*/ 99 h 101"/>
                <a:gd name="T6" fmla="*/ 10 w 110"/>
                <a:gd name="T7" fmla="*/ 101 h 101"/>
                <a:gd name="T8" fmla="*/ 110 w 110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01">
                  <a:moveTo>
                    <a:pt x="110" y="0"/>
                  </a:moveTo>
                  <a:cubicBezTo>
                    <a:pt x="106" y="1"/>
                    <a:pt x="101" y="2"/>
                    <a:pt x="96" y="3"/>
                  </a:cubicBezTo>
                  <a:lnTo>
                    <a:pt x="0" y="99"/>
                  </a:lnTo>
                  <a:cubicBezTo>
                    <a:pt x="3" y="100"/>
                    <a:pt x="6" y="100"/>
                    <a:pt x="10" y="101"/>
                  </a:cubicBezTo>
                  <a:lnTo>
                    <a:pt x="1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296"/>
            <p:cNvSpPr>
              <a:spLocks/>
            </p:cNvSpPr>
            <p:nvPr/>
          </p:nvSpPr>
          <p:spPr bwMode="auto">
            <a:xfrm>
              <a:off x="2575" y="3235"/>
              <a:ext cx="173" cy="156"/>
            </a:xfrm>
            <a:custGeom>
              <a:avLst/>
              <a:gdLst>
                <a:gd name="T0" fmla="*/ 73 w 73"/>
                <a:gd name="T1" fmla="*/ 1 h 66"/>
                <a:gd name="T2" fmla="*/ 63 w 73"/>
                <a:gd name="T3" fmla="*/ 0 h 66"/>
                <a:gd name="T4" fmla="*/ 0 w 73"/>
                <a:gd name="T5" fmla="*/ 63 h 66"/>
                <a:gd name="T6" fmla="*/ 8 w 73"/>
                <a:gd name="T7" fmla="*/ 66 h 66"/>
                <a:gd name="T8" fmla="*/ 73 w 73"/>
                <a:gd name="T9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6">
                  <a:moveTo>
                    <a:pt x="73" y="1"/>
                  </a:moveTo>
                  <a:cubicBezTo>
                    <a:pt x="70" y="1"/>
                    <a:pt x="66" y="0"/>
                    <a:pt x="63" y="0"/>
                  </a:cubicBezTo>
                  <a:lnTo>
                    <a:pt x="0" y="63"/>
                  </a:lnTo>
                  <a:cubicBezTo>
                    <a:pt x="3" y="64"/>
                    <a:pt x="5" y="65"/>
                    <a:pt x="8" y="66"/>
                  </a:cubicBezTo>
                  <a:lnTo>
                    <a:pt x="7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297"/>
            <p:cNvSpPr>
              <a:spLocks/>
            </p:cNvSpPr>
            <p:nvPr/>
          </p:nvSpPr>
          <p:spPr bwMode="auto">
            <a:xfrm>
              <a:off x="2743" y="3246"/>
              <a:ext cx="223" cy="202"/>
            </a:xfrm>
            <a:custGeom>
              <a:avLst/>
              <a:gdLst>
                <a:gd name="T0" fmla="*/ 94 w 94"/>
                <a:gd name="T1" fmla="*/ 0 h 85"/>
                <a:gd name="T2" fmla="*/ 82 w 94"/>
                <a:gd name="T3" fmla="*/ 0 h 85"/>
                <a:gd name="T4" fmla="*/ 0 w 94"/>
                <a:gd name="T5" fmla="*/ 82 h 85"/>
                <a:gd name="T6" fmla="*/ 9 w 94"/>
                <a:gd name="T7" fmla="*/ 85 h 85"/>
                <a:gd name="T8" fmla="*/ 94 w 9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5">
                  <a:moveTo>
                    <a:pt x="94" y="0"/>
                  </a:moveTo>
                  <a:cubicBezTo>
                    <a:pt x="90" y="0"/>
                    <a:pt x="86" y="0"/>
                    <a:pt x="82" y="0"/>
                  </a:cubicBezTo>
                  <a:lnTo>
                    <a:pt x="0" y="82"/>
                  </a:lnTo>
                  <a:cubicBezTo>
                    <a:pt x="3" y="83"/>
                    <a:pt x="6" y="84"/>
                    <a:pt x="9" y="85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298"/>
            <p:cNvSpPr>
              <a:spLocks/>
            </p:cNvSpPr>
            <p:nvPr/>
          </p:nvSpPr>
          <p:spPr bwMode="auto">
            <a:xfrm>
              <a:off x="2658" y="3246"/>
              <a:ext cx="194" cy="176"/>
            </a:xfrm>
            <a:custGeom>
              <a:avLst/>
              <a:gdLst>
                <a:gd name="T0" fmla="*/ 82 w 82"/>
                <a:gd name="T1" fmla="*/ 0 h 74"/>
                <a:gd name="T2" fmla="*/ 71 w 82"/>
                <a:gd name="T3" fmla="*/ 0 h 74"/>
                <a:gd name="T4" fmla="*/ 0 w 82"/>
                <a:gd name="T5" fmla="*/ 71 h 74"/>
                <a:gd name="T6" fmla="*/ 8 w 82"/>
                <a:gd name="T7" fmla="*/ 74 h 74"/>
                <a:gd name="T8" fmla="*/ 82 w 82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4">
                  <a:moveTo>
                    <a:pt x="82" y="0"/>
                  </a:moveTo>
                  <a:cubicBezTo>
                    <a:pt x="78" y="0"/>
                    <a:pt x="75" y="0"/>
                    <a:pt x="71" y="0"/>
                  </a:cubicBezTo>
                  <a:lnTo>
                    <a:pt x="0" y="71"/>
                  </a:lnTo>
                  <a:cubicBezTo>
                    <a:pt x="3" y="72"/>
                    <a:pt x="5" y="73"/>
                    <a:pt x="8" y="74"/>
                  </a:cubicBezTo>
                  <a:lnTo>
                    <a:pt x="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299"/>
            <p:cNvSpPr>
              <a:spLocks/>
            </p:cNvSpPr>
            <p:nvPr/>
          </p:nvSpPr>
          <p:spPr bwMode="auto">
            <a:xfrm>
              <a:off x="2347" y="3154"/>
              <a:ext cx="133" cy="123"/>
            </a:xfrm>
            <a:custGeom>
              <a:avLst/>
              <a:gdLst>
                <a:gd name="T0" fmla="*/ 56 w 56"/>
                <a:gd name="T1" fmla="*/ 3 h 52"/>
                <a:gd name="T2" fmla="*/ 48 w 56"/>
                <a:gd name="T3" fmla="*/ 0 h 52"/>
                <a:gd name="T4" fmla="*/ 0 w 56"/>
                <a:gd name="T5" fmla="*/ 48 h 52"/>
                <a:gd name="T6" fmla="*/ 7 w 56"/>
                <a:gd name="T7" fmla="*/ 52 h 52"/>
                <a:gd name="T8" fmla="*/ 56 w 56"/>
                <a:gd name="T9" fmla="*/ 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2">
                  <a:moveTo>
                    <a:pt x="56" y="3"/>
                  </a:moveTo>
                  <a:cubicBezTo>
                    <a:pt x="54" y="2"/>
                    <a:pt x="51" y="1"/>
                    <a:pt x="48" y="0"/>
                  </a:cubicBezTo>
                  <a:lnTo>
                    <a:pt x="0" y="48"/>
                  </a:lnTo>
                  <a:cubicBezTo>
                    <a:pt x="3" y="50"/>
                    <a:pt x="5" y="51"/>
                    <a:pt x="7" y="52"/>
                  </a:cubicBezTo>
                  <a:lnTo>
                    <a:pt x="5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00"/>
            <p:cNvSpPr>
              <a:spLocks/>
            </p:cNvSpPr>
            <p:nvPr/>
          </p:nvSpPr>
          <p:spPr bwMode="auto">
            <a:xfrm>
              <a:off x="2494" y="3213"/>
              <a:ext cx="159" cy="145"/>
            </a:xfrm>
            <a:custGeom>
              <a:avLst/>
              <a:gdLst>
                <a:gd name="T0" fmla="*/ 67 w 67"/>
                <a:gd name="T1" fmla="*/ 2 h 61"/>
                <a:gd name="T2" fmla="*/ 57 w 67"/>
                <a:gd name="T3" fmla="*/ 0 h 61"/>
                <a:gd name="T4" fmla="*/ 0 w 67"/>
                <a:gd name="T5" fmla="*/ 57 h 61"/>
                <a:gd name="T6" fmla="*/ 8 w 67"/>
                <a:gd name="T7" fmla="*/ 61 h 61"/>
                <a:gd name="T8" fmla="*/ 67 w 67"/>
                <a:gd name="T9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67" y="2"/>
                  </a:moveTo>
                  <a:cubicBezTo>
                    <a:pt x="63" y="2"/>
                    <a:pt x="60" y="1"/>
                    <a:pt x="57" y="0"/>
                  </a:cubicBezTo>
                  <a:lnTo>
                    <a:pt x="0" y="57"/>
                  </a:lnTo>
                  <a:cubicBezTo>
                    <a:pt x="3" y="58"/>
                    <a:pt x="6" y="60"/>
                    <a:pt x="8" y="61"/>
                  </a:cubicBezTo>
                  <a:lnTo>
                    <a:pt x="6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301"/>
            <p:cNvSpPr>
              <a:spLocks/>
            </p:cNvSpPr>
            <p:nvPr/>
          </p:nvSpPr>
          <p:spPr bwMode="auto">
            <a:xfrm>
              <a:off x="2279" y="3116"/>
              <a:ext cx="125" cy="119"/>
            </a:xfrm>
            <a:custGeom>
              <a:avLst/>
              <a:gdLst>
                <a:gd name="T0" fmla="*/ 53 w 53"/>
                <a:gd name="T1" fmla="*/ 4 h 50"/>
                <a:gd name="T2" fmla="*/ 45 w 53"/>
                <a:gd name="T3" fmla="*/ 0 h 50"/>
                <a:gd name="T4" fmla="*/ 0 w 53"/>
                <a:gd name="T5" fmla="*/ 45 h 50"/>
                <a:gd name="T6" fmla="*/ 7 w 53"/>
                <a:gd name="T7" fmla="*/ 50 h 50"/>
                <a:gd name="T8" fmla="*/ 53 w 53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53" y="4"/>
                  </a:moveTo>
                  <a:cubicBezTo>
                    <a:pt x="50" y="2"/>
                    <a:pt x="48" y="1"/>
                    <a:pt x="45" y="0"/>
                  </a:cubicBezTo>
                  <a:lnTo>
                    <a:pt x="0" y="45"/>
                  </a:lnTo>
                  <a:cubicBezTo>
                    <a:pt x="2" y="47"/>
                    <a:pt x="5" y="48"/>
                    <a:pt x="7" y="50"/>
                  </a:cubicBezTo>
                  <a:lnTo>
                    <a:pt x="53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302"/>
            <p:cNvSpPr>
              <a:spLocks/>
            </p:cNvSpPr>
            <p:nvPr/>
          </p:nvSpPr>
          <p:spPr bwMode="auto">
            <a:xfrm>
              <a:off x="1795" y="540"/>
              <a:ext cx="2713" cy="2732"/>
            </a:xfrm>
            <a:custGeom>
              <a:avLst/>
              <a:gdLst>
                <a:gd name="T0" fmla="*/ 1145 w 1145"/>
                <a:gd name="T1" fmla="*/ 7 h 1152"/>
                <a:gd name="T2" fmla="*/ 1141 w 1145"/>
                <a:gd name="T3" fmla="*/ 0 h 1152"/>
                <a:gd name="T4" fmla="*/ 0 w 1145"/>
                <a:gd name="T5" fmla="*/ 1142 h 1152"/>
                <a:gd name="T6" fmla="*/ 2 w 1145"/>
                <a:gd name="T7" fmla="*/ 1152 h 1152"/>
                <a:gd name="T8" fmla="*/ 1145 w 1145"/>
                <a:gd name="T9" fmla="*/ 7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5" h="1152">
                  <a:moveTo>
                    <a:pt x="1145" y="7"/>
                  </a:moveTo>
                  <a:cubicBezTo>
                    <a:pt x="1144" y="5"/>
                    <a:pt x="1142" y="3"/>
                    <a:pt x="1141" y="0"/>
                  </a:cubicBezTo>
                  <a:lnTo>
                    <a:pt x="0" y="1142"/>
                  </a:lnTo>
                  <a:cubicBezTo>
                    <a:pt x="1" y="1146"/>
                    <a:pt x="2" y="1149"/>
                    <a:pt x="2" y="1152"/>
                  </a:cubicBezTo>
                  <a:lnTo>
                    <a:pt x="1145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303"/>
            <p:cNvSpPr>
              <a:spLocks/>
            </p:cNvSpPr>
            <p:nvPr/>
          </p:nvSpPr>
          <p:spPr bwMode="auto">
            <a:xfrm>
              <a:off x="3707" y="2528"/>
              <a:ext cx="860" cy="863"/>
            </a:xfrm>
            <a:custGeom>
              <a:avLst/>
              <a:gdLst>
                <a:gd name="T0" fmla="*/ 356 w 363"/>
                <a:gd name="T1" fmla="*/ 19 h 364"/>
                <a:gd name="T2" fmla="*/ 363 w 363"/>
                <a:gd name="T3" fmla="*/ 0 h 364"/>
                <a:gd name="T4" fmla="*/ 0 w 363"/>
                <a:gd name="T5" fmla="*/ 364 h 364"/>
                <a:gd name="T6" fmla="*/ 18 w 363"/>
                <a:gd name="T7" fmla="*/ 357 h 364"/>
                <a:gd name="T8" fmla="*/ 356 w 363"/>
                <a:gd name="T9" fmla="*/ 1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356" y="19"/>
                  </a:moveTo>
                  <a:cubicBezTo>
                    <a:pt x="358" y="13"/>
                    <a:pt x="361" y="6"/>
                    <a:pt x="363" y="0"/>
                  </a:cubicBezTo>
                  <a:lnTo>
                    <a:pt x="0" y="364"/>
                  </a:lnTo>
                  <a:cubicBezTo>
                    <a:pt x="6" y="362"/>
                    <a:pt x="12" y="359"/>
                    <a:pt x="18" y="357"/>
                  </a:cubicBezTo>
                  <a:lnTo>
                    <a:pt x="35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304"/>
            <p:cNvSpPr>
              <a:spLocks/>
            </p:cNvSpPr>
            <p:nvPr/>
          </p:nvSpPr>
          <p:spPr bwMode="auto">
            <a:xfrm>
              <a:off x="3927" y="2751"/>
              <a:ext cx="534" cy="531"/>
            </a:xfrm>
            <a:custGeom>
              <a:avLst/>
              <a:gdLst>
                <a:gd name="T0" fmla="*/ 205 w 225"/>
                <a:gd name="T1" fmla="*/ 31 h 224"/>
                <a:gd name="T2" fmla="*/ 225 w 225"/>
                <a:gd name="T3" fmla="*/ 0 h 224"/>
                <a:gd name="T4" fmla="*/ 0 w 225"/>
                <a:gd name="T5" fmla="*/ 224 h 224"/>
                <a:gd name="T6" fmla="*/ 31 w 225"/>
                <a:gd name="T7" fmla="*/ 205 h 224"/>
                <a:gd name="T8" fmla="*/ 205 w 225"/>
                <a:gd name="T9" fmla="*/ 3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4">
                  <a:moveTo>
                    <a:pt x="205" y="31"/>
                  </a:moveTo>
                  <a:cubicBezTo>
                    <a:pt x="212" y="21"/>
                    <a:pt x="218" y="10"/>
                    <a:pt x="225" y="0"/>
                  </a:cubicBezTo>
                  <a:lnTo>
                    <a:pt x="0" y="224"/>
                  </a:lnTo>
                  <a:cubicBezTo>
                    <a:pt x="11" y="218"/>
                    <a:pt x="21" y="212"/>
                    <a:pt x="31" y="205"/>
                  </a:cubicBezTo>
                  <a:lnTo>
                    <a:pt x="20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305"/>
            <p:cNvSpPr>
              <a:spLocks/>
            </p:cNvSpPr>
            <p:nvPr/>
          </p:nvSpPr>
          <p:spPr bwMode="auto">
            <a:xfrm>
              <a:off x="3537" y="2357"/>
              <a:ext cx="1087" cy="1089"/>
            </a:xfrm>
            <a:custGeom>
              <a:avLst/>
              <a:gdLst>
                <a:gd name="T0" fmla="*/ 454 w 459"/>
                <a:gd name="T1" fmla="*/ 16 h 459"/>
                <a:gd name="T2" fmla="*/ 459 w 459"/>
                <a:gd name="T3" fmla="*/ 0 h 459"/>
                <a:gd name="T4" fmla="*/ 0 w 459"/>
                <a:gd name="T5" fmla="*/ 459 h 459"/>
                <a:gd name="T6" fmla="*/ 16 w 459"/>
                <a:gd name="T7" fmla="*/ 455 h 459"/>
                <a:gd name="T8" fmla="*/ 454 w 459"/>
                <a:gd name="T9" fmla="*/ 1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9" h="459">
                  <a:moveTo>
                    <a:pt x="454" y="16"/>
                  </a:moveTo>
                  <a:cubicBezTo>
                    <a:pt x="456" y="11"/>
                    <a:pt x="457" y="5"/>
                    <a:pt x="459" y="0"/>
                  </a:cubicBezTo>
                  <a:lnTo>
                    <a:pt x="0" y="459"/>
                  </a:lnTo>
                  <a:cubicBezTo>
                    <a:pt x="6" y="458"/>
                    <a:pt x="11" y="456"/>
                    <a:pt x="16" y="455"/>
                  </a:cubicBezTo>
                  <a:lnTo>
                    <a:pt x="45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306"/>
            <p:cNvSpPr>
              <a:spLocks/>
            </p:cNvSpPr>
            <p:nvPr/>
          </p:nvSpPr>
          <p:spPr bwMode="auto">
            <a:xfrm>
              <a:off x="3392" y="2212"/>
              <a:ext cx="1263" cy="1264"/>
            </a:xfrm>
            <a:custGeom>
              <a:avLst/>
              <a:gdLst>
                <a:gd name="T0" fmla="*/ 530 w 533"/>
                <a:gd name="T1" fmla="*/ 14 h 533"/>
                <a:gd name="T2" fmla="*/ 533 w 533"/>
                <a:gd name="T3" fmla="*/ 0 h 533"/>
                <a:gd name="T4" fmla="*/ 0 w 533"/>
                <a:gd name="T5" fmla="*/ 533 h 533"/>
                <a:gd name="T6" fmla="*/ 14 w 533"/>
                <a:gd name="T7" fmla="*/ 531 h 533"/>
                <a:gd name="T8" fmla="*/ 530 w 533"/>
                <a:gd name="T9" fmla="*/ 14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533">
                  <a:moveTo>
                    <a:pt x="530" y="14"/>
                  </a:moveTo>
                  <a:cubicBezTo>
                    <a:pt x="531" y="9"/>
                    <a:pt x="532" y="5"/>
                    <a:pt x="533" y="0"/>
                  </a:cubicBezTo>
                  <a:lnTo>
                    <a:pt x="0" y="533"/>
                  </a:lnTo>
                  <a:cubicBezTo>
                    <a:pt x="5" y="533"/>
                    <a:pt x="9" y="532"/>
                    <a:pt x="14" y="531"/>
                  </a:cubicBezTo>
                  <a:lnTo>
                    <a:pt x="53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307"/>
            <p:cNvSpPr>
              <a:spLocks/>
            </p:cNvSpPr>
            <p:nvPr/>
          </p:nvSpPr>
          <p:spPr bwMode="auto">
            <a:xfrm>
              <a:off x="2932" y="3189"/>
              <a:ext cx="318" cy="295"/>
            </a:xfrm>
            <a:custGeom>
              <a:avLst/>
              <a:gdLst>
                <a:gd name="T0" fmla="*/ 134 w 134"/>
                <a:gd name="T1" fmla="*/ 0 h 124"/>
                <a:gd name="T2" fmla="*/ 118 w 134"/>
                <a:gd name="T3" fmla="*/ 5 h 124"/>
                <a:gd name="T4" fmla="*/ 0 w 134"/>
                <a:gd name="T5" fmla="*/ 123 h 124"/>
                <a:gd name="T6" fmla="*/ 10 w 134"/>
                <a:gd name="T7" fmla="*/ 124 h 124"/>
                <a:gd name="T8" fmla="*/ 134 w 13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24">
                  <a:moveTo>
                    <a:pt x="134" y="0"/>
                  </a:moveTo>
                  <a:cubicBezTo>
                    <a:pt x="129" y="2"/>
                    <a:pt x="123" y="4"/>
                    <a:pt x="118" y="5"/>
                  </a:cubicBezTo>
                  <a:lnTo>
                    <a:pt x="0" y="123"/>
                  </a:lnTo>
                  <a:cubicBezTo>
                    <a:pt x="3" y="124"/>
                    <a:pt x="7" y="124"/>
                    <a:pt x="10" y="124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308"/>
            <p:cNvSpPr>
              <a:spLocks/>
            </p:cNvSpPr>
            <p:nvPr/>
          </p:nvSpPr>
          <p:spPr bwMode="auto">
            <a:xfrm>
              <a:off x="3034" y="3085"/>
              <a:ext cx="434" cy="410"/>
            </a:xfrm>
            <a:custGeom>
              <a:avLst/>
              <a:gdLst>
                <a:gd name="T0" fmla="*/ 183 w 183"/>
                <a:gd name="T1" fmla="*/ 0 h 173"/>
                <a:gd name="T2" fmla="*/ 156 w 183"/>
                <a:gd name="T3" fmla="*/ 16 h 173"/>
                <a:gd name="T4" fmla="*/ 0 w 183"/>
                <a:gd name="T5" fmla="*/ 172 h 173"/>
                <a:gd name="T6" fmla="*/ 11 w 183"/>
                <a:gd name="T7" fmla="*/ 173 h 173"/>
                <a:gd name="T8" fmla="*/ 183 w 18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73">
                  <a:moveTo>
                    <a:pt x="183" y="0"/>
                  </a:moveTo>
                  <a:cubicBezTo>
                    <a:pt x="174" y="6"/>
                    <a:pt x="165" y="11"/>
                    <a:pt x="156" y="16"/>
                  </a:cubicBezTo>
                  <a:lnTo>
                    <a:pt x="0" y="172"/>
                  </a:lnTo>
                  <a:cubicBezTo>
                    <a:pt x="4" y="172"/>
                    <a:pt x="7" y="172"/>
                    <a:pt x="11" y="173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309"/>
            <p:cNvSpPr>
              <a:spLocks/>
            </p:cNvSpPr>
            <p:nvPr/>
          </p:nvSpPr>
          <p:spPr bwMode="auto">
            <a:xfrm>
              <a:off x="3264" y="2084"/>
              <a:ext cx="1405" cy="1409"/>
            </a:xfrm>
            <a:custGeom>
              <a:avLst/>
              <a:gdLst>
                <a:gd name="T0" fmla="*/ 592 w 593"/>
                <a:gd name="T1" fmla="*/ 12 h 594"/>
                <a:gd name="T2" fmla="*/ 593 w 593"/>
                <a:gd name="T3" fmla="*/ 0 h 594"/>
                <a:gd name="T4" fmla="*/ 0 w 593"/>
                <a:gd name="T5" fmla="*/ 594 h 594"/>
                <a:gd name="T6" fmla="*/ 12 w 593"/>
                <a:gd name="T7" fmla="*/ 593 h 594"/>
                <a:gd name="T8" fmla="*/ 592 w 593"/>
                <a:gd name="T9" fmla="*/ 12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594">
                  <a:moveTo>
                    <a:pt x="592" y="12"/>
                  </a:moveTo>
                  <a:cubicBezTo>
                    <a:pt x="592" y="8"/>
                    <a:pt x="592" y="4"/>
                    <a:pt x="593" y="0"/>
                  </a:cubicBezTo>
                  <a:lnTo>
                    <a:pt x="0" y="594"/>
                  </a:lnTo>
                  <a:cubicBezTo>
                    <a:pt x="4" y="593"/>
                    <a:pt x="8" y="593"/>
                    <a:pt x="12" y="593"/>
                  </a:cubicBezTo>
                  <a:lnTo>
                    <a:pt x="5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310"/>
            <p:cNvSpPr>
              <a:spLocks/>
            </p:cNvSpPr>
            <p:nvPr/>
          </p:nvSpPr>
          <p:spPr bwMode="auto">
            <a:xfrm>
              <a:off x="2421" y="3187"/>
              <a:ext cx="142" cy="133"/>
            </a:xfrm>
            <a:custGeom>
              <a:avLst/>
              <a:gdLst>
                <a:gd name="T0" fmla="*/ 60 w 60"/>
                <a:gd name="T1" fmla="*/ 3 h 56"/>
                <a:gd name="T2" fmla="*/ 52 w 60"/>
                <a:gd name="T3" fmla="*/ 0 h 56"/>
                <a:gd name="T4" fmla="*/ 0 w 60"/>
                <a:gd name="T5" fmla="*/ 52 h 56"/>
                <a:gd name="T6" fmla="*/ 7 w 60"/>
                <a:gd name="T7" fmla="*/ 56 h 56"/>
                <a:gd name="T8" fmla="*/ 60 w 60"/>
                <a:gd name="T9" fmla="*/ 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6">
                  <a:moveTo>
                    <a:pt x="60" y="3"/>
                  </a:moveTo>
                  <a:cubicBezTo>
                    <a:pt x="57" y="2"/>
                    <a:pt x="54" y="1"/>
                    <a:pt x="52" y="0"/>
                  </a:cubicBezTo>
                  <a:lnTo>
                    <a:pt x="0" y="52"/>
                  </a:lnTo>
                  <a:cubicBezTo>
                    <a:pt x="2" y="53"/>
                    <a:pt x="5" y="55"/>
                    <a:pt x="7" y="56"/>
                  </a:cubicBez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311"/>
            <p:cNvSpPr>
              <a:spLocks/>
            </p:cNvSpPr>
            <p:nvPr/>
          </p:nvSpPr>
          <p:spPr bwMode="auto">
            <a:xfrm>
              <a:off x="3809" y="1857"/>
              <a:ext cx="860" cy="887"/>
            </a:xfrm>
            <a:custGeom>
              <a:avLst/>
              <a:gdLst>
                <a:gd name="T0" fmla="*/ 363 w 363"/>
                <a:gd name="T1" fmla="*/ 10 h 374"/>
                <a:gd name="T2" fmla="*/ 363 w 363"/>
                <a:gd name="T3" fmla="*/ 0 h 374"/>
                <a:gd name="T4" fmla="*/ 16 w 363"/>
                <a:gd name="T5" fmla="*/ 347 h 374"/>
                <a:gd name="T6" fmla="*/ 0 w 363"/>
                <a:gd name="T7" fmla="*/ 374 h 374"/>
                <a:gd name="T8" fmla="*/ 363 w 363"/>
                <a:gd name="T9" fmla="*/ 1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74">
                  <a:moveTo>
                    <a:pt x="363" y="10"/>
                  </a:moveTo>
                  <a:cubicBezTo>
                    <a:pt x="363" y="7"/>
                    <a:pt x="363" y="3"/>
                    <a:pt x="363" y="0"/>
                  </a:cubicBezTo>
                  <a:lnTo>
                    <a:pt x="16" y="347"/>
                  </a:lnTo>
                  <a:cubicBezTo>
                    <a:pt x="11" y="356"/>
                    <a:pt x="5" y="366"/>
                    <a:pt x="0" y="374"/>
                  </a:cubicBezTo>
                  <a:lnTo>
                    <a:pt x="36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12"/>
            <p:cNvSpPr>
              <a:spLocks/>
            </p:cNvSpPr>
            <p:nvPr/>
          </p:nvSpPr>
          <p:spPr bwMode="auto">
            <a:xfrm>
              <a:off x="2215" y="3073"/>
              <a:ext cx="116" cy="114"/>
            </a:xfrm>
            <a:custGeom>
              <a:avLst/>
              <a:gdLst>
                <a:gd name="T0" fmla="*/ 49 w 49"/>
                <a:gd name="T1" fmla="*/ 4 h 48"/>
                <a:gd name="T2" fmla="*/ 42 w 49"/>
                <a:gd name="T3" fmla="*/ 0 h 48"/>
                <a:gd name="T4" fmla="*/ 0 w 49"/>
                <a:gd name="T5" fmla="*/ 43 h 48"/>
                <a:gd name="T6" fmla="*/ 6 w 49"/>
                <a:gd name="T7" fmla="*/ 48 h 48"/>
                <a:gd name="T8" fmla="*/ 49 w 49"/>
                <a:gd name="T9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9" y="4"/>
                  </a:moveTo>
                  <a:cubicBezTo>
                    <a:pt x="47" y="3"/>
                    <a:pt x="45" y="1"/>
                    <a:pt x="42" y="0"/>
                  </a:cubicBezTo>
                  <a:lnTo>
                    <a:pt x="0" y="43"/>
                  </a:lnTo>
                  <a:cubicBezTo>
                    <a:pt x="2" y="44"/>
                    <a:pt x="4" y="46"/>
                    <a:pt x="6" y="48"/>
                  </a:cubicBezTo>
                  <a:lnTo>
                    <a:pt x="4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13"/>
            <p:cNvSpPr>
              <a:spLocks/>
            </p:cNvSpPr>
            <p:nvPr/>
          </p:nvSpPr>
          <p:spPr bwMode="auto">
            <a:xfrm>
              <a:off x="3970" y="1565"/>
              <a:ext cx="652" cy="676"/>
            </a:xfrm>
            <a:custGeom>
              <a:avLst/>
              <a:gdLst>
                <a:gd name="T0" fmla="*/ 0 w 275"/>
                <a:gd name="T1" fmla="*/ 273 h 285"/>
                <a:gd name="T2" fmla="*/ 0 w 275"/>
                <a:gd name="T3" fmla="*/ 285 h 285"/>
                <a:gd name="T4" fmla="*/ 275 w 275"/>
                <a:gd name="T5" fmla="*/ 9 h 285"/>
                <a:gd name="T6" fmla="*/ 273 w 275"/>
                <a:gd name="T7" fmla="*/ 0 h 285"/>
                <a:gd name="T8" fmla="*/ 0 w 275"/>
                <a:gd name="T9" fmla="*/ 27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85">
                  <a:moveTo>
                    <a:pt x="0" y="273"/>
                  </a:moveTo>
                  <a:cubicBezTo>
                    <a:pt x="0" y="277"/>
                    <a:pt x="0" y="281"/>
                    <a:pt x="0" y="285"/>
                  </a:cubicBezTo>
                  <a:lnTo>
                    <a:pt x="275" y="9"/>
                  </a:lnTo>
                  <a:cubicBezTo>
                    <a:pt x="275" y="6"/>
                    <a:pt x="274" y="3"/>
                    <a:pt x="273" y="0"/>
                  </a:cubicBezTo>
                  <a:lnTo>
                    <a:pt x="0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14"/>
            <p:cNvSpPr>
              <a:spLocks/>
            </p:cNvSpPr>
            <p:nvPr/>
          </p:nvSpPr>
          <p:spPr bwMode="auto">
            <a:xfrm>
              <a:off x="3968" y="1477"/>
              <a:ext cx="630" cy="648"/>
            </a:xfrm>
            <a:custGeom>
              <a:avLst/>
              <a:gdLst>
                <a:gd name="T0" fmla="*/ 0 w 266"/>
                <a:gd name="T1" fmla="*/ 263 h 273"/>
                <a:gd name="T2" fmla="*/ 1 w 266"/>
                <a:gd name="T3" fmla="*/ 273 h 273"/>
                <a:gd name="T4" fmla="*/ 266 w 266"/>
                <a:gd name="T5" fmla="*/ 8 h 273"/>
                <a:gd name="T6" fmla="*/ 263 w 266"/>
                <a:gd name="T7" fmla="*/ 0 h 273"/>
                <a:gd name="T8" fmla="*/ 0 w 266"/>
                <a:gd name="T9" fmla="*/ 26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273">
                  <a:moveTo>
                    <a:pt x="0" y="263"/>
                  </a:moveTo>
                  <a:cubicBezTo>
                    <a:pt x="0" y="266"/>
                    <a:pt x="1" y="270"/>
                    <a:pt x="1" y="273"/>
                  </a:cubicBezTo>
                  <a:lnTo>
                    <a:pt x="266" y="8"/>
                  </a:lnTo>
                  <a:cubicBezTo>
                    <a:pt x="265" y="6"/>
                    <a:pt x="264" y="3"/>
                    <a:pt x="263" y="0"/>
                  </a:cubicBezTo>
                  <a:lnTo>
                    <a:pt x="0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15"/>
            <p:cNvSpPr>
              <a:spLocks/>
            </p:cNvSpPr>
            <p:nvPr/>
          </p:nvSpPr>
          <p:spPr bwMode="auto">
            <a:xfrm>
              <a:off x="3954" y="1655"/>
              <a:ext cx="689" cy="716"/>
            </a:xfrm>
            <a:custGeom>
              <a:avLst/>
              <a:gdLst>
                <a:gd name="T0" fmla="*/ 0 w 291"/>
                <a:gd name="T1" fmla="*/ 302 h 302"/>
                <a:gd name="T2" fmla="*/ 291 w 291"/>
                <a:gd name="T3" fmla="*/ 10 h 302"/>
                <a:gd name="T4" fmla="*/ 290 w 291"/>
                <a:gd name="T5" fmla="*/ 5 h 302"/>
                <a:gd name="T6" fmla="*/ 289 w 291"/>
                <a:gd name="T7" fmla="*/ 0 h 302"/>
                <a:gd name="T8" fmla="*/ 2 w 291"/>
                <a:gd name="T9" fmla="*/ 288 h 302"/>
                <a:gd name="T10" fmla="*/ 0 w 291"/>
                <a:gd name="T11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302">
                  <a:moveTo>
                    <a:pt x="0" y="302"/>
                  </a:moveTo>
                  <a:lnTo>
                    <a:pt x="291" y="10"/>
                  </a:lnTo>
                  <a:cubicBezTo>
                    <a:pt x="291" y="8"/>
                    <a:pt x="291" y="7"/>
                    <a:pt x="290" y="5"/>
                  </a:cubicBezTo>
                  <a:cubicBezTo>
                    <a:pt x="290" y="3"/>
                    <a:pt x="290" y="2"/>
                    <a:pt x="289" y="0"/>
                  </a:cubicBezTo>
                  <a:lnTo>
                    <a:pt x="2" y="288"/>
                  </a:lnTo>
                  <a:cubicBezTo>
                    <a:pt x="2" y="293"/>
                    <a:pt x="1" y="297"/>
                    <a:pt x="0" y="3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16"/>
            <p:cNvSpPr>
              <a:spLocks/>
            </p:cNvSpPr>
            <p:nvPr/>
          </p:nvSpPr>
          <p:spPr bwMode="auto">
            <a:xfrm>
              <a:off x="1824" y="619"/>
              <a:ext cx="2715" cy="2736"/>
            </a:xfrm>
            <a:custGeom>
              <a:avLst/>
              <a:gdLst>
                <a:gd name="T0" fmla="*/ 1146 w 1146"/>
                <a:gd name="T1" fmla="*/ 9 h 1154"/>
                <a:gd name="T2" fmla="*/ 1144 w 1146"/>
                <a:gd name="T3" fmla="*/ 0 h 1154"/>
                <a:gd name="T4" fmla="*/ 0 w 1146"/>
                <a:gd name="T5" fmla="*/ 1146 h 1154"/>
                <a:gd name="T6" fmla="*/ 4 w 1146"/>
                <a:gd name="T7" fmla="*/ 1154 h 1154"/>
                <a:gd name="T8" fmla="*/ 1146 w 1146"/>
                <a:gd name="T9" fmla="*/ 9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1154">
                  <a:moveTo>
                    <a:pt x="1146" y="9"/>
                  </a:moveTo>
                  <a:cubicBezTo>
                    <a:pt x="1146" y="6"/>
                    <a:pt x="1145" y="3"/>
                    <a:pt x="1144" y="0"/>
                  </a:cubicBezTo>
                  <a:lnTo>
                    <a:pt x="0" y="1146"/>
                  </a:lnTo>
                  <a:cubicBezTo>
                    <a:pt x="1" y="1149"/>
                    <a:pt x="2" y="1151"/>
                    <a:pt x="4" y="1154"/>
                  </a:cubicBezTo>
                  <a:lnTo>
                    <a:pt x="114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17"/>
            <p:cNvSpPr>
              <a:spLocks/>
            </p:cNvSpPr>
            <p:nvPr/>
          </p:nvSpPr>
          <p:spPr bwMode="auto">
            <a:xfrm>
              <a:off x="1873" y="721"/>
              <a:ext cx="2673" cy="2689"/>
            </a:xfrm>
            <a:custGeom>
              <a:avLst/>
              <a:gdLst>
                <a:gd name="T0" fmla="*/ 1128 w 1128"/>
                <a:gd name="T1" fmla="*/ 12 h 1134"/>
                <a:gd name="T2" fmla="*/ 1128 w 1128"/>
                <a:gd name="T3" fmla="*/ 0 h 1134"/>
                <a:gd name="T4" fmla="*/ 0 w 1128"/>
                <a:gd name="T5" fmla="*/ 1130 h 1134"/>
                <a:gd name="T6" fmla="*/ 7 w 1128"/>
                <a:gd name="T7" fmla="*/ 1134 h 1134"/>
                <a:gd name="T8" fmla="*/ 1128 w 1128"/>
                <a:gd name="T9" fmla="*/ 1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8" h="1134">
                  <a:moveTo>
                    <a:pt x="1128" y="12"/>
                  </a:moveTo>
                  <a:cubicBezTo>
                    <a:pt x="1128" y="8"/>
                    <a:pt x="1128" y="4"/>
                    <a:pt x="1128" y="0"/>
                  </a:cubicBezTo>
                  <a:lnTo>
                    <a:pt x="0" y="1130"/>
                  </a:lnTo>
                  <a:cubicBezTo>
                    <a:pt x="2" y="1132"/>
                    <a:pt x="5" y="1133"/>
                    <a:pt x="7" y="1134"/>
                  </a:cubicBezTo>
                  <a:lnTo>
                    <a:pt x="112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18"/>
            <p:cNvSpPr>
              <a:spLocks/>
            </p:cNvSpPr>
            <p:nvPr/>
          </p:nvSpPr>
          <p:spPr bwMode="auto">
            <a:xfrm>
              <a:off x="3913" y="1752"/>
              <a:ext cx="747" cy="773"/>
            </a:xfrm>
            <a:custGeom>
              <a:avLst/>
              <a:gdLst>
                <a:gd name="T0" fmla="*/ 5 w 315"/>
                <a:gd name="T1" fmla="*/ 309 h 326"/>
                <a:gd name="T2" fmla="*/ 0 w 315"/>
                <a:gd name="T3" fmla="*/ 326 h 326"/>
                <a:gd name="T4" fmla="*/ 315 w 315"/>
                <a:gd name="T5" fmla="*/ 10 h 326"/>
                <a:gd name="T6" fmla="*/ 314 w 315"/>
                <a:gd name="T7" fmla="*/ 0 h 326"/>
                <a:gd name="T8" fmla="*/ 5 w 315"/>
                <a:gd name="T9" fmla="*/ 30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" h="326">
                  <a:moveTo>
                    <a:pt x="5" y="309"/>
                  </a:moveTo>
                  <a:cubicBezTo>
                    <a:pt x="4" y="315"/>
                    <a:pt x="2" y="320"/>
                    <a:pt x="0" y="326"/>
                  </a:cubicBezTo>
                  <a:lnTo>
                    <a:pt x="315" y="10"/>
                  </a:lnTo>
                  <a:cubicBezTo>
                    <a:pt x="315" y="7"/>
                    <a:pt x="314" y="4"/>
                    <a:pt x="314" y="0"/>
                  </a:cubicBezTo>
                  <a:lnTo>
                    <a:pt x="5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19"/>
            <p:cNvSpPr>
              <a:spLocks/>
            </p:cNvSpPr>
            <p:nvPr/>
          </p:nvSpPr>
          <p:spPr bwMode="auto">
            <a:xfrm>
              <a:off x="3956" y="1394"/>
              <a:ext cx="611" cy="629"/>
            </a:xfrm>
            <a:custGeom>
              <a:avLst/>
              <a:gdLst>
                <a:gd name="T0" fmla="*/ 0 w 258"/>
                <a:gd name="T1" fmla="*/ 255 h 265"/>
                <a:gd name="T2" fmla="*/ 2 w 258"/>
                <a:gd name="T3" fmla="*/ 265 h 265"/>
                <a:gd name="T4" fmla="*/ 258 w 258"/>
                <a:gd name="T5" fmla="*/ 8 h 265"/>
                <a:gd name="T6" fmla="*/ 255 w 258"/>
                <a:gd name="T7" fmla="*/ 0 h 265"/>
                <a:gd name="T8" fmla="*/ 0 w 258"/>
                <a:gd name="T9" fmla="*/ 25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265">
                  <a:moveTo>
                    <a:pt x="0" y="255"/>
                  </a:moveTo>
                  <a:cubicBezTo>
                    <a:pt x="0" y="258"/>
                    <a:pt x="1" y="261"/>
                    <a:pt x="2" y="265"/>
                  </a:cubicBezTo>
                  <a:lnTo>
                    <a:pt x="258" y="8"/>
                  </a:lnTo>
                  <a:cubicBezTo>
                    <a:pt x="257" y="5"/>
                    <a:pt x="256" y="3"/>
                    <a:pt x="255" y="0"/>
                  </a:cubicBezTo>
                  <a:lnTo>
                    <a:pt x="0" y="2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20"/>
            <p:cNvSpPr>
              <a:spLocks/>
            </p:cNvSpPr>
            <p:nvPr/>
          </p:nvSpPr>
          <p:spPr bwMode="auto">
            <a:xfrm>
              <a:off x="3795" y="1034"/>
              <a:ext cx="566" cy="571"/>
            </a:xfrm>
            <a:custGeom>
              <a:avLst/>
              <a:gdLst>
                <a:gd name="T0" fmla="*/ 0 w 239"/>
                <a:gd name="T1" fmla="*/ 234 h 241"/>
                <a:gd name="T2" fmla="*/ 4 w 239"/>
                <a:gd name="T3" fmla="*/ 241 h 241"/>
                <a:gd name="T4" fmla="*/ 239 w 239"/>
                <a:gd name="T5" fmla="*/ 6 h 241"/>
                <a:gd name="T6" fmla="*/ 234 w 239"/>
                <a:gd name="T7" fmla="*/ 0 h 241"/>
                <a:gd name="T8" fmla="*/ 0 w 239"/>
                <a:gd name="T9" fmla="*/ 23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241">
                  <a:moveTo>
                    <a:pt x="0" y="234"/>
                  </a:moveTo>
                  <a:cubicBezTo>
                    <a:pt x="2" y="236"/>
                    <a:pt x="3" y="239"/>
                    <a:pt x="4" y="241"/>
                  </a:cubicBezTo>
                  <a:lnTo>
                    <a:pt x="239" y="6"/>
                  </a:lnTo>
                  <a:cubicBezTo>
                    <a:pt x="237" y="4"/>
                    <a:pt x="236" y="2"/>
                    <a:pt x="234" y="0"/>
                  </a:cubicBezTo>
                  <a:lnTo>
                    <a:pt x="0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21"/>
            <p:cNvSpPr>
              <a:spLocks/>
            </p:cNvSpPr>
            <p:nvPr/>
          </p:nvSpPr>
          <p:spPr bwMode="auto">
            <a:xfrm>
              <a:off x="3875" y="1167"/>
              <a:ext cx="578" cy="588"/>
            </a:xfrm>
            <a:custGeom>
              <a:avLst/>
              <a:gdLst>
                <a:gd name="T0" fmla="*/ 0 w 244"/>
                <a:gd name="T1" fmla="*/ 240 h 248"/>
                <a:gd name="T2" fmla="*/ 4 w 244"/>
                <a:gd name="T3" fmla="*/ 248 h 248"/>
                <a:gd name="T4" fmla="*/ 244 w 244"/>
                <a:gd name="T5" fmla="*/ 7 h 248"/>
                <a:gd name="T6" fmla="*/ 240 w 244"/>
                <a:gd name="T7" fmla="*/ 0 h 248"/>
                <a:gd name="T8" fmla="*/ 0 w 244"/>
                <a:gd name="T9" fmla="*/ 2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8">
                  <a:moveTo>
                    <a:pt x="0" y="240"/>
                  </a:moveTo>
                  <a:cubicBezTo>
                    <a:pt x="1" y="243"/>
                    <a:pt x="3" y="245"/>
                    <a:pt x="4" y="248"/>
                  </a:cubicBezTo>
                  <a:lnTo>
                    <a:pt x="244" y="7"/>
                  </a:lnTo>
                  <a:cubicBezTo>
                    <a:pt x="243" y="5"/>
                    <a:pt x="241" y="3"/>
                    <a:pt x="240" y="0"/>
                  </a:cubicBezTo>
                  <a:lnTo>
                    <a:pt x="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22"/>
            <p:cNvSpPr>
              <a:spLocks/>
            </p:cNvSpPr>
            <p:nvPr/>
          </p:nvSpPr>
          <p:spPr bwMode="auto">
            <a:xfrm>
              <a:off x="3837" y="1098"/>
              <a:ext cx="571" cy="578"/>
            </a:xfrm>
            <a:custGeom>
              <a:avLst/>
              <a:gdLst>
                <a:gd name="T0" fmla="*/ 0 w 241"/>
                <a:gd name="T1" fmla="*/ 237 h 244"/>
                <a:gd name="T2" fmla="*/ 4 w 241"/>
                <a:gd name="T3" fmla="*/ 244 h 244"/>
                <a:gd name="T4" fmla="*/ 241 w 241"/>
                <a:gd name="T5" fmla="*/ 7 h 244"/>
                <a:gd name="T6" fmla="*/ 237 w 241"/>
                <a:gd name="T7" fmla="*/ 0 h 244"/>
                <a:gd name="T8" fmla="*/ 0 w 241"/>
                <a:gd name="T9" fmla="*/ 23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4">
                  <a:moveTo>
                    <a:pt x="0" y="237"/>
                  </a:moveTo>
                  <a:cubicBezTo>
                    <a:pt x="2" y="239"/>
                    <a:pt x="3" y="242"/>
                    <a:pt x="4" y="244"/>
                  </a:cubicBezTo>
                  <a:lnTo>
                    <a:pt x="241" y="7"/>
                  </a:lnTo>
                  <a:cubicBezTo>
                    <a:pt x="240" y="5"/>
                    <a:pt x="238" y="3"/>
                    <a:pt x="237" y="0"/>
                  </a:cubicBezTo>
                  <a:lnTo>
                    <a:pt x="0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23"/>
            <p:cNvSpPr>
              <a:spLocks/>
            </p:cNvSpPr>
            <p:nvPr/>
          </p:nvSpPr>
          <p:spPr bwMode="auto">
            <a:xfrm>
              <a:off x="3935" y="1316"/>
              <a:ext cx="597" cy="609"/>
            </a:xfrm>
            <a:custGeom>
              <a:avLst/>
              <a:gdLst>
                <a:gd name="T0" fmla="*/ 0 w 252"/>
                <a:gd name="T1" fmla="*/ 248 h 257"/>
                <a:gd name="T2" fmla="*/ 3 w 252"/>
                <a:gd name="T3" fmla="*/ 257 h 257"/>
                <a:gd name="T4" fmla="*/ 252 w 252"/>
                <a:gd name="T5" fmla="*/ 7 h 257"/>
                <a:gd name="T6" fmla="*/ 249 w 252"/>
                <a:gd name="T7" fmla="*/ 0 h 257"/>
                <a:gd name="T8" fmla="*/ 0 w 252"/>
                <a:gd name="T9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257">
                  <a:moveTo>
                    <a:pt x="0" y="248"/>
                  </a:moveTo>
                  <a:cubicBezTo>
                    <a:pt x="1" y="251"/>
                    <a:pt x="2" y="254"/>
                    <a:pt x="3" y="257"/>
                  </a:cubicBezTo>
                  <a:lnTo>
                    <a:pt x="252" y="7"/>
                  </a:lnTo>
                  <a:cubicBezTo>
                    <a:pt x="251" y="5"/>
                    <a:pt x="250" y="2"/>
                    <a:pt x="249" y="0"/>
                  </a:cubicBezTo>
                  <a:lnTo>
                    <a:pt x="0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24"/>
            <p:cNvSpPr>
              <a:spLocks/>
            </p:cNvSpPr>
            <p:nvPr/>
          </p:nvSpPr>
          <p:spPr bwMode="auto">
            <a:xfrm>
              <a:off x="3909" y="1240"/>
              <a:ext cx="585" cy="598"/>
            </a:xfrm>
            <a:custGeom>
              <a:avLst/>
              <a:gdLst>
                <a:gd name="T0" fmla="*/ 0 w 247"/>
                <a:gd name="T1" fmla="*/ 243 h 252"/>
                <a:gd name="T2" fmla="*/ 3 w 247"/>
                <a:gd name="T3" fmla="*/ 252 h 252"/>
                <a:gd name="T4" fmla="*/ 247 w 247"/>
                <a:gd name="T5" fmla="*/ 7 h 252"/>
                <a:gd name="T6" fmla="*/ 243 w 247"/>
                <a:gd name="T7" fmla="*/ 0 h 252"/>
                <a:gd name="T8" fmla="*/ 0 w 247"/>
                <a:gd name="T9" fmla="*/ 24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52">
                  <a:moveTo>
                    <a:pt x="0" y="243"/>
                  </a:moveTo>
                  <a:cubicBezTo>
                    <a:pt x="1" y="246"/>
                    <a:pt x="2" y="249"/>
                    <a:pt x="3" y="252"/>
                  </a:cubicBezTo>
                  <a:lnTo>
                    <a:pt x="247" y="7"/>
                  </a:lnTo>
                  <a:cubicBezTo>
                    <a:pt x="246" y="5"/>
                    <a:pt x="245" y="2"/>
                    <a:pt x="243" y="0"/>
                  </a:cubicBezTo>
                  <a:lnTo>
                    <a:pt x="0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0" name="Grafikk 9">
            <a:extLst>
              <a:ext uri="{FF2B5EF4-FFF2-40B4-BE49-F238E27FC236}">
                <a16:creationId xmlns:a16="http://schemas.microsoft.com/office/drawing/2014/main" id="{6CAEA097-8E2E-6649-9431-F8FE21DF405D}"/>
              </a:ext>
            </a:extLst>
          </p:cNvPr>
          <p:cNvPicPr>
            <a:picLocks noChangeAspect="1"/>
          </p:cNvPicPr>
          <p:nvPr userDrawn="1"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10451429" y="6271064"/>
            <a:ext cx="1237527" cy="33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503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766" r:id="rId36"/>
    <p:sldLayoutId id="2147483767" r:id="rId37"/>
    <p:sldLayoutId id="2147483768" r:id="rId38"/>
    <p:sldLayoutId id="2147483769" r:id="rId39"/>
    <p:sldLayoutId id="2147483770" r:id="rId40"/>
    <p:sldLayoutId id="2147483771" r:id="rId41"/>
    <p:sldLayoutId id="2147483772" r:id="rId42"/>
    <p:sldLayoutId id="2147483773" r:id="rId43"/>
    <p:sldLayoutId id="2147483774" r:id="rId44"/>
    <p:sldLayoutId id="2147483775" r:id="rId45"/>
    <p:sldLayoutId id="2147483776" r:id="rId46"/>
    <p:sldLayoutId id="2147483777" r:id="rId47"/>
    <p:sldLayoutId id="2147483778" r:id="rId48"/>
    <p:sldLayoutId id="2147483779" r:id="rId49"/>
    <p:sldLayoutId id="2147483780" r:id="rId50"/>
    <p:sldLayoutId id="2147483781" r:id="rId51"/>
    <p:sldLayoutId id="2147483782" r:id="rId52"/>
    <p:sldLayoutId id="2147483783" r:id="rId53"/>
    <p:sldLayoutId id="2147483784" r:id="rId54"/>
    <p:sldLayoutId id="2147483785" r:id="rId55"/>
    <p:sldLayoutId id="2147483786" r:id="rId56"/>
    <p:sldLayoutId id="2147483787" r:id="rId57"/>
    <p:sldLayoutId id="2147483788" r:id="rId58"/>
    <p:sldLayoutId id="2147483789" r:id="rId59"/>
    <p:sldLayoutId id="2147483790" r:id="rId60"/>
    <p:sldLayoutId id="2147483791" r:id="rId61"/>
    <p:sldLayoutId id="2147483792" r:id="rId62"/>
    <p:sldLayoutId id="2147483793" r:id="rId6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338">
          <p15:clr>
            <a:srgbClr val="F26B43"/>
          </p15:clr>
        </p15:guide>
        <p15:guide id="3" pos="7331">
          <p15:clr>
            <a:srgbClr val="F26B43"/>
          </p15:clr>
        </p15:guide>
        <p15:guide id="5" orient="horz" pos="3748">
          <p15:clr>
            <a:srgbClr val="F26B43"/>
          </p15:clr>
        </p15:guide>
        <p15:guide id="6" orient="horz" pos="1082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4135">
          <p15:clr>
            <a:srgbClr val="F26B43"/>
          </p15:clr>
        </p15:guide>
        <p15:guide id="9" pos="4951">
          <p15:clr>
            <a:srgbClr val="F26B43"/>
          </p15:clr>
        </p15:guide>
        <p15:guide id="10" pos="4725">
          <p15:clr>
            <a:srgbClr val="F26B43"/>
          </p15:clr>
        </p15:guide>
        <p15:guide id="11" pos="3829">
          <p15:clr>
            <a:srgbClr val="F26B43"/>
          </p15:clr>
        </p15:guide>
        <p15:guide id="12" pos="3740">
          <p15:clr>
            <a:srgbClr val="F26B43"/>
          </p15:clr>
        </p15:guide>
        <p15:guide id="13" pos="39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6575" y="453412"/>
            <a:ext cx="11101388" cy="689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399" y="1717676"/>
            <a:ext cx="11104563" cy="4232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4133" y="612097"/>
            <a:ext cx="1657799" cy="324000"/>
          </a:xfrm>
          <a:prstGeom prst="rect">
            <a:avLst/>
          </a:prstGeom>
        </p:spPr>
      </p:pic>
      <p:sp>
        <p:nvSpPr>
          <p:cNvPr id="9" name="Hellogo" hidden="1"/>
          <p:cNvSpPr>
            <a:spLocks noChangeAspect="1" noEditPoints="1"/>
          </p:cNvSpPr>
          <p:nvPr/>
        </p:nvSpPr>
        <p:spPr bwMode="auto">
          <a:xfrm>
            <a:off x="4656000" y="2056975"/>
            <a:ext cx="2880000" cy="2744050"/>
          </a:xfrm>
          <a:custGeom>
            <a:avLst/>
            <a:gdLst>
              <a:gd name="T0" fmla="*/ 319 w 337"/>
              <a:gd name="T1" fmla="*/ 129 h 321"/>
              <a:gd name="T2" fmla="*/ 289 w 337"/>
              <a:gd name="T3" fmla="*/ 64 h 321"/>
              <a:gd name="T4" fmla="*/ 305 w 337"/>
              <a:gd name="T5" fmla="*/ 48 h 321"/>
              <a:gd name="T6" fmla="*/ 308 w 337"/>
              <a:gd name="T7" fmla="*/ 21 h 321"/>
              <a:gd name="T8" fmla="*/ 292 w 337"/>
              <a:gd name="T9" fmla="*/ 13 h 321"/>
              <a:gd name="T10" fmla="*/ 265 w 337"/>
              <a:gd name="T11" fmla="*/ 40 h 321"/>
              <a:gd name="T12" fmla="*/ 137 w 337"/>
              <a:gd name="T13" fmla="*/ 9 h 321"/>
              <a:gd name="T14" fmla="*/ 17 w 337"/>
              <a:gd name="T15" fmla="*/ 191 h 321"/>
              <a:gd name="T16" fmla="*/ 48 w 337"/>
              <a:gd name="T17" fmla="*/ 257 h 321"/>
              <a:gd name="T18" fmla="*/ 36 w 337"/>
              <a:gd name="T19" fmla="*/ 269 h 321"/>
              <a:gd name="T20" fmla="*/ 33 w 337"/>
              <a:gd name="T21" fmla="*/ 296 h 321"/>
              <a:gd name="T22" fmla="*/ 49 w 337"/>
              <a:gd name="T23" fmla="*/ 304 h 321"/>
              <a:gd name="T24" fmla="*/ 72 w 337"/>
              <a:gd name="T25" fmla="*/ 281 h 321"/>
              <a:gd name="T26" fmla="*/ 199 w 337"/>
              <a:gd name="T27" fmla="*/ 311 h 321"/>
              <a:gd name="T28" fmla="*/ 319 w 337"/>
              <a:gd name="T29" fmla="*/ 129 h 321"/>
              <a:gd name="T30" fmla="*/ 87 w 337"/>
              <a:gd name="T31" fmla="*/ 161 h 321"/>
              <a:gd name="T32" fmla="*/ 172 w 337"/>
              <a:gd name="T33" fmla="*/ 33 h 321"/>
              <a:gd name="T34" fmla="*/ 255 w 337"/>
              <a:gd name="T35" fmla="*/ 50 h 321"/>
              <a:gd name="T36" fmla="*/ 104 w 337"/>
              <a:gd name="T37" fmla="*/ 201 h 321"/>
              <a:gd name="T38" fmla="*/ 87 w 337"/>
              <a:gd name="T39" fmla="*/ 161 h 321"/>
              <a:gd name="T40" fmla="*/ 165 w 337"/>
              <a:gd name="T41" fmla="*/ 287 h 321"/>
              <a:gd name="T42" fmla="*/ 82 w 337"/>
              <a:gd name="T43" fmla="*/ 271 h 321"/>
              <a:gd name="T44" fmla="*/ 233 w 337"/>
              <a:gd name="T45" fmla="*/ 120 h 321"/>
              <a:gd name="T46" fmla="*/ 249 w 337"/>
              <a:gd name="T47" fmla="*/ 159 h 321"/>
              <a:gd name="T48" fmla="*/ 165 w 337"/>
              <a:gd name="T49" fmla="*/ 28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7" h="321">
                <a:moveTo>
                  <a:pt x="319" y="129"/>
                </a:moveTo>
                <a:cubicBezTo>
                  <a:pt x="314" y="105"/>
                  <a:pt x="304" y="83"/>
                  <a:pt x="289" y="64"/>
                </a:cubicBezTo>
                <a:cubicBezTo>
                  <a:pt x="305" y="48"/>
                  <a:pt x="305" y="48"/>
                  <a:pt x="305" y="48"/>
                </a:cubicBezTo>
                <a:cubicBezTo>
                  <a:pt x="310" y="43"/>
                  <a:pt x="311" y="31"/>
                  <a:pt x="308" y="21"/>
                </a:cubicBezTo>
                <a:cubicBezTo>
                  <a:pt x="304" y="11"/>
                  <a:pt x="297" y="8"/>
                  <a:pt x="292" y="13"/>
                </a:cubicBezTo>
                <a:cubicBezTo>
                  <a:pt x="265" y="40"/>
                  <a:pt x="265" y="40"/>
                  <a:pt x="265" y="40"/>
                </a:cubicBezTo>
                <a:cubicBezTo>
                  <a:pt x="230" y="12"/>
                  <a:pt x="184" y="0"/>
                  <a:pt x="137" y="9"/>
                </a:cubicBezTo>
                <a:cubicBezTo>
                  <a:pt x="54" y="26"/>
                  <a:pt x="0" y="108"/>
                  <a:pt x="17" y="191"/>
                </a:cubicBezTo>
                <a:cubicBezTo>
                  <a:pt x="22" y="216"/>
                  <a:pt x="33" y="238"/>
                  <a:pt x="48" y="257"/>
                </a:cubicBezTo>
                <a:cubicBezTo>
                  <a:pt x="36" y="269"/>
                  <a:pt x="36" y="269"/>
                  <a:pt x="36" y="269"/>
                </a:cubicBezTo>
                <a:cubicBezTo>
                  <a:pt x="30" y="274"/>
                  <a:pt x="29" y="286"/>
                  <a:pt x="33" y="296"/>
                </a:cubicBezTo>
                <a:cubicBezTo>
                  <a:pt x="36" y="306"/>
                  <a:pt x="44" y="309"/>
                  <a:pt x="49" y="304"/>
                </a:cubicBezTo>
                <a:cubicBezTo>
                  <a:pt x="72" y="281"/>
                  <a:pt x="72" y="281"/>
                  <a:pt x="72" y="281"/>
                </a:cubicBezTo>
                <a:cubicBezTo>
                  <a:pt x="107" y="308"/>
                  <a:pt x="153" y="321"/>
                  <a:pt x="199" y="311"/>
                </a:cubicBezTo>
                <a:cubicBezTo>
                  <a:pt x="283" y="294"/>
                  <a:pt x="337" y="213"/>
                  <a:pt x="319" y="129"/>
                </a:cubicBezTo>
                <a:moveTo>
                  <a:pt x="87" y="161"/>
                </a:moveTo>
                <a:cubicBezTo>
                  <a:pt x="75" y="103"/>
                  <a:pt x="113" y="45"/>
                  <a:pt x="172" y="33"/>
                </a:cubicBezTo>
                <a:cubicBezTo>
                  <a:pt x="202" y="27"/>
                  <a:pt x="231" y="34"/>
                  <a:pt x="255" y="50"/>
                </a:cubicBezTo>
                <a:cubicBezTo>
                  <a:pt x="104" y="201"/>
                  <a:pt x="104" y="201"/>
                  <a:pt x="104" y="201"/>
                </a:cubicBezTo>
                <a:cubicBezTo>
                  <a:pt x="96" y="189"/>
                  <a:pt x="90" y="176"/>
                  <a:pt x="87" y="161"/>
                </a:cubicBezTo>
                <a:moveTo>
                  <a:pt x="165" y="287"/>
                </a:moveTo>
                <a:cubicBezTo>
                  <a:pt x="135" y="293"/>
                  <a:pt x="106" y="287"/>
                  <a:pt x="82" y="271"/>
                </a:cubicBezTo>
                <a:cubicBezTo>
                  <a:pt x="233" y="120"/>
                  <a:pt x="233" y="120"/>
                  <a:pt x="233" y="120"/>
                </a:cubicBezTo>
                <a:cubicBezTo>
                  <a:pt x="241" y="132"/>
                  <a:pt x="246" y="145"/>
                  <a:pt x="249" y="159"/>
                </a:cubicBezTo>
                <a:cubicBezTo>
                  <a:pt x="261" y="218"/>
                  <a:pt x="223" y="275"/>
                  <a:pt x="165" y="287"/>
                </a:cubicBezTo>
              </a:path>
            </a:pathLst>
          </a:custGeom>
          <a:solidFill>
            <a:srgbClr val="00AE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1" name="Kantlogo" hidden="1"/>
          <p:cNvSpPr>
            <a:spLocks noChangeAspect="1" noEditPoints="1"/>
          </p:cNvSpPr>
          <p:nvPr/>
        </p:nvSpPr>
        <p:spPr bwMode="auto">
          <a:xfrm>
            <a:off x="4656000" y="2054372"/>
            <a:ext cx="2880000" cy="2749256"/>
          </a:xfrm>
          <a:custGeom>
            <a:avLst/>
            <a:gdLst>
              <a:gd name="T0" fmla="*/ 315 w 332"/>
              <a:gd name="T1" fmla="*/ 128 h 317"/>
              <a:gd name="T2" fmla="*/ 285 w 332"/>
              <a:gd name="T3" fmla="*/ 64 h 317"/>
              <a:gd name="T4" fmla="*/ 301 w 332"/>
              <a:gd name="T5" fmla="*/ 48 h 317"/>
              <a:gd name="T6" fmla="*/ 304 w 332"/>
              <a:gd name="T7" fmla="*/ 21 h 317"/>
              <a:gd name="T8" fmla="*/ 288 w 332"/>
              <a:gd name="T9" fmla="*/ 13 h 317"/>
              <a:gd name="T10" fmla="*/ 261 w 332"/>
              <a:gd name="T11" fmla="*/ 40 h 317"/>
              <a:gd name="T12" fmla="*/ 135 w 332"/>
              <a:gd name="T13" fmla="*/ 10 h 317"/>
              <a:gd name="T14" fmla="*/ 17 w 332"/>
              <a:gd name="T15" fmla="*/ 189 h 317"/>
              <a:gd name="T16" fmla="*/ 47 w 332"/>
              <a:gd name="T17" fmla="*/ 254 h 317"/>
              <a:gd name="T18" fmla="*/ 35 w 332"/>
              <a:gd name="T19" fmla="*/ 266 h 317"/>
              <a:gd name="T20" fmla="*/ 32 w 332"/>
              <a:gd name="T21" fmla="*/ 293 h 317"/>
              <a:gd name="T22" fmla="*/ 48 w 332"/>
              <a:gd name="T23" fmla="*/ 301 h 317"/>
              <a:gd name="T24" fmla="*/ 71 w 332"/>
              <a:gd name="T25" fmla="*/ 278 h 317"/>
              <a:gd name="T26" fmla="*/ 196 w 332"/>
              <a:gd name="T27" fmla="*/ 308 h 317"/>
              <a:gd name="T28" fmla="*/ 315 w 332"/>
              <a:gd name="T29" fmla="*/ 128 h 317"/>
              <a:gd name="T30" fmla="*/ 86 w 332"/>
              <a:gd name="T31" fmla="*/ 160 h 317"/>
              <a:gd name="T32" fmla="*/ 169 w 332"/>
              <a:gd name="T33" fmla="*/ 33 h 317"/>
              <a:gd name="T34" fmla="*/ 251 w 332"/>
              <a:gd name="T35" fmla="*/ 50 h 317"/>
              <a:gd name="T36" fmla="*/ 102 w 332"/>
              <a:gd name="T37" fmla="*/ 199 h 317"/>
              <a:gd name="T38" fmla="*/ 86 w 332"/>
              <a:gd name="T39" fmla="*/ 160 h 317"/>
              <a:gd name="T40" fmla="*/ 162 w 332"/>
              <a:gd name="T41" fmla="*/ 284 h 317"/>
              <a:gd name="T42" fmla="*/ 81 w 332"/>
              <a:gd name="T43" fmla="*/ 268 h 317"/>
              <a:gd name="T44" fmla="*/ 230 w 332"/>
              <a:gd name="T45" fmla="*/ 119 h 317"/>
              <a:gd name="T46" fmla="*/ 246 w 332"/>
              <a:gd name="T47" fmla="*/ 158 h 317"/>
              <a:gd name="T48" fmla="*/ 162 w 332"/>
              <a:gd name="T49" fmla="*/ 284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2" h="317">
                <a:moveTo>
                  <a:pt x="315" y="128"/>
                </a:moveTo>
                <a:cubicBezTo>
                  <a:pt x="310" y="104"/>
                  <a:pt x="299" y="82"/>
                  <a:pt x="285" y="64"/>
                </a:cubicBezTo>
                <a:cubicBezTo>
                  <a:pt x="301" y="48"/>
                  <a:pt x="301" y="48"/>
                  <a:pt x="301" y="48"/>
                </a:cubicBezTo>
                <a:cubicBezTo>
                  <a:pt x="306" y="43"/>
                  <a:pt x="307" y="31"/>
                  <a:pt x="304" y="21"/>
                </a:cubicBezTo>
                <a:cubicBezTo>
                  <a:pt x="300" y="12"/>
                  <a:pt x="293" y="8"/>
                  <a:pt x="288" y="13"/>
                </a:cubicBezTo>
                <a:cubicBezTo>
                  <a:pt x="261" y="40"/>
                  <a:pt x="261" y="40"/>
                  <a:pt x="261" y="40"/>
                </a:cubicBezTo>
                <a:cubicBezTo>
                  <a:pt x="227" y="13"/>
                  <a:pt x="182" y="0"/>
                  <a:pt x="135" y="10"/>
                </a:cubicBezTo>
                <a:cubicBezTo>
                  <a:pt x="53" y="26"/>
                  <a:pt x="0" y="107"/>
                  <a:pt x="17" y="189"/>
                </a:cubicBezTo>
                <a:cubicBezTo>
                  <a:pt x="22" y="214"/>
                  <a:pt x="32" y="236"/>
                  <a:pt x="47" y="254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30" y="271"/>
                  <a:pt x="29" y="283"/>
                  <a:pt x="32" y="293"/>
                </a:cubicBezTo>
                <a:cubicBezTo>
                  <a:pt x="36" y="302"/>
                  <a:pt x="43" y="306"/>
                  <a:pt x="48" y="301"/>
                </a:cubicBezTo>
                <a:cubicBezTo>
                  <a:pt x="71" y="278"/>
                  <a:pt x="71" y="278"/>
                  <a:pt x="71" y="278"/>
                </a:cubicBezTo>
                <a:cubicBezTo>
                  <a:pt x="105" y="305"/>
                  <a:pt x="150" y="317"/>
                  <a:pt x="196" y="308"/>
                </a:cubicBezTo>
                <a:cubicBezTo>
                  <a:pt x="279" y="291"/>
                  <a:pt x="332" y="211"/>
                  <a:pt x="315" y="128"/>
                </a:cubicBezTo>
                <a:moveTo>
                  <a:pt x="86" y="160"/>
                </a:moveTo>
                <a:cubicBezTo>
                  <a:pt x="74" y="102"/>
                  <a:pt x="111" y="45"/>
                  <a:pt x="169" y="33"/>
                </a:cubicBezTo>
                <a:cubicBezTo>
                  <a:pt x="199" y="27"/>
                  <a:pt x="228" y="34"/>
                  <a:pt x="251" y="50"/>
                </a:cubicBezTo>
                <a:cubicBezTo>
                  <a:pt x="102" y="199"/>
                  <a:pt x="102" y="199"/>
                  <a:pt x="102" y="199"/>
                </a:cubicBezTo>
                <a:cubicBezTo>
                  <a:pt x="95" y="187"/>
                  <a:pt x="89" y="174"/>
                  <a:pt x="86" y="160"/>
                </a:cubicBezTo>
                <a:moveTo>
                  <a:pt x="162" y="284"/>
                </a:moveTo>
                <a:cubicBezTo>
                  <a:pt x="133" y="290"/>
                  <a:pt x="104" y="283"/>
                  <a:pt x="81" y="268"/>
                </a:cubicBezTo>
                <a:cubicBezTo>
                  <a:pt x="230" y="119"/>
                  <a:pt x="230" y="119"/>
                  <a:pt x="230" y="119"/>
                </a:cubicBezTo>
                <a:cubicBezTo>
                  <a:pt x="237" y="130"/>
                  <a:pt x="243" y="143"/>
                  <a:pt x="246" y="158"/>
                </a:cubicBezTo>
                <a:cubicBezTo>
                  <a:pt x="258" y="216"/>
                  <a:pt x="220" y="272"/>
                  <a:pt x="162" y="284"/>
                </a:cubicBezTo>
              </a:path>
            </a:pathLst>
          </a:custGeom>
          <a:noFill/>
          <a:ln w="1587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grpSp>
        <p:nvGrpSpPr>
          <p:cNvPr id="73" name="Skravertlogo" hidden="1"/>
          <p:cNvGrpSpPr>
            <a:grpSpLocks noChangeAspect="1"/>
          </p:cNvGrpSpPr>
          <p:nvPr/>
        </p:nvGrpSpPr>
        <p:grpSpPr bwMode="auto">
          <a:xfrm>
            <a:off x="4656000" y="1987582"/>
            <a:ext cx="2880000" cy="2882836"/>
            <a:chOff x="1627" y="448"/>
            <a:chExt cx="3047" cy="3050"/>
          </a:xfrm>
          <a:solidFill>
            <a:schemeClr val="accent1"/>
          </a:solidFill>
        </p:grpSpPr>
        <p:sp>
          <p:nvSpPr>
            <p:cNvPr id="74" name="Freeform 265"/>
            <p:cNvSpPr>
              <a:spLocks/>
            </p:cNvSpPr>
            <p:nvPr/>
          </p:nvSpPr>
          <p:spPr bwMode="auto">
            <a:xfrm>
              <a:off x="1629" y="1145"/>
              <a:ext cx="898" cy="927"/>
            </a:xfrm>
            <a:custGeom>
              <a:avLst/>
              <a:gdLst>
                <a:gd name="T0" fmla="*/ 358 w 379"/>
                <a:gd name="T1" fmla="*/ 33 h 391"/>
                <a:gd name="T2" fmla="*/ 379 w 379"/>
                <a:gd name="T3" fmla="*/ 0 h 391"/>
                <a:gd name="T4" fmla="*/ 0 w 379"/>
                <a:gd name="T5" fmla="*/ 380 h 391"/>
                <a:gd name="T6" fmla="*/ 1 w 379"/>
                <a:gd name="T7" fmla="*/ 391 h 391"/>
                <a:gd name="T8" fmla="*/ 358 w 379"/>
                <a:gd name="T9" fmla="*/ 3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391">
                  <a:moveTo>
                    <a:pt x="358" y="33"/>
                  </a:moveTo>
                  <a:cubicBezTo>
                    <a:pt x="364" y="22"/>
                    <a:pt x="372" y="11"/>
                    <a:pt x="379" y="0"/>
                  </a:cubicBezTo>
                  <a:lnTo>
                    <a:pt x="0" y="380"/>
                  </a:lnTo>
                  <a:cubicBezTo>
                    <a:pt x="0" y="384"/>
                    <a:pt x="0" y="387"/>
                    <a:pt x="1" y="391"/>
                  </a:cubicBezTo>
                  <a:lnTo>
                    <a:pt x="35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66"/>
            <p:cNvSpPr>
              <a:spLocks/>
            </p:cNvSpPr>
            <p:nvPr/>
          </p:nvSpPr>
          <p:spPr bwMode="auto">
            <a:xfrm>
              <a:off x="1674" y="1684"/>
              <a:ext cx="659" cy="683"/>
            </a:xfrm>
            <a:custGeom>
              <a:avLst/>
              <a:gdLst>
                <a:gd name="T0" fmla="*/ 277 w 278"/>
                <a:gd name="T1" fmla="*/ 13 h 288"/>
                <a:gd name="T2" fmla="*/ 278 w 278"/>
                <a:gd name="T3" fmla="*/ 0 h 288"/>
                <a:gd name="T4" fmla="*/ 0 w 278"/>
                <a:gd name="T5" fmla="*/ 279 h 288"/>
                <a:gd name="T6" fmla="*/ 2 w 278"/>
                <a:gd name="T7" fmla="*/ 288 h 288"/>
                <a:gd name="T8" fmla="*/ 277 w 278"/>
                <a:gd name="T9" fmla="*/ 1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88">
                  <a:moveTo>
                    <a:pt x="277" y="13"/>
                  </a:moveTo>
                  <a:cubicBezTo>
                    <a:pt x="277" y="9"/>
                    <a:pt x="277" y="5"/>
                    <a:pt x="278" y="0"/>
                  </a:cubicBezTo>
                  <a:lnTo>
                    <a:pt x="0" y="279"/>
                  </a:lnTo>
                  <a:cubicBezTo>
                    <a:pt x="0" y="282"/>
                    <a:pt x="1" y="285"/>
                    <a:pt x="2" y="288"/>
                  </a:cubicBezTo>
                  <a:lnTo>
                    <a:pt x="27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7"/>
            <p:cNvSpPr>
              <a:spLocks/>
            </p:cNvSpPr>
            <p:nvPr/>
          </p:nvSpPr>
          <p:spPr bwMode="auto">
            <a:xfrm>
              <a:off x="1653" y="1553"/>
              <a:ext cx="697" cy="721"/>
            </a:xfrm>
            <a:custGeom>
              <a:avLst/>
              <a:gdLst>
                <a:gd name="T0" fmla="*/ 292 w 294"/>
                <a:gd name="T1" fmla="*/ 13 h 304"/>
                <a:gd name="T2" fmla="*/ 294 w 294"/>
                <a:gd name="T3" fmla="*/ 0 h 304"/>
                <a:gd name="T4" fmla="*/ 0 w 294"/>
                <a:gd name="T5" fmla="*/ 294 h 304"/>
                <a:gd name="T6" fmla="*/ 2 w 294"/>
                <a:gd name="T7" fmla="*/ 304 h 304"/>
                <a:gd name="T8" fmla="*/ 292 w 294"/>
                <a:gd name="T9" fmla="*/ 1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304">
                  <a:moveTo>
                    <a:pt x="292" y="13"/>
                  </a:moveTo>
                  <a:cubicBezTo>
                    <a:pt x="293" y="9"/>
                    <a:pt x="293" y="4"/>
                    <a:pt x="294" y="0"/>
                  </a:cubicBezTo>
                  <a:lnTo>
                    <a:pt x="0" y="294"/>
                  </a:lnTo>
                  <a:cubicBezTo>
                    <a:pt x="1" y="297"/>
                    <a:pt x="1" y="301"/>
                    <a:pt x="2" y="304"/>
                  </a:cubicBezTo>
                  <a:lnTo>
                    <a:pt x="29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68"/>
            <p:cNvSpPr>
              <a:spLocks/>
            </p:cNvSpPr>
            <p:nvPr/>
          </p:nvSpPr>
          <p:spPr bwMode="auto">
            <a:xfrm>
              <a:off x="1639" y="1392"/>
              <a:ext cx="758" cy="785"/>
            </a:xfrm>
            <a:custGeom>
              <a:avLst/>
              <a:gdLst>
                <a:gd name="T0" fmla="*/ 314 w 320"/>
                <a:gd name="T1" fmla="*/ 17 h 331"/>
                <a:gd name="T2" fmla="*/ 320 w 320"/>
                <a:gd name="T3" fmla="*/ 0 h 331"/>
                <a:gd name="T4" fmla="*/ 0 w 320"/>
                <a:gd name="T5" fmla="*/ 321 h 331"/>
                <a:gd name="T6" fmla="*/ 1 w 320"/>
                <a:gd name="T7" fmla="*/ 331 h 331"/>
                <a:gd name="T8" fmla="*/ 314 w 320"/>
                <a:gd name="T9" fmla="*/ 1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331">
                  <a:moveTo>
                    <a:pt x="314" y="17"/>
                  </a:moveTo>
                  <a:cubicBezTo>
                    <a:pt x="316" y="11"/>
                    <a:pt x="318" y="5"/>
                    <a:pt x="320" y="0"/>
                  </a:cubicBezTo>
                  <a:lnTo>
                    <a:pt x="0" y="321"/>
                  </a:lnTo>
                  <a:cubicBezTo>
                    <a:pt x="0" y="324"/>
                    <a:pt x="0" y="327"/>
                    <a:pt x="1" y="331"/>
                  </a:cubicBezTo>
                  <a:lnTo>
                    <a:pt x="31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69"/>
            <p:cNvSpPr>
              <a:spLocks/>
            </p:cNvSpPr>
            <p:nvPr/>
          </p:nvSpPr>
          <p:spPr bwMode="auto">
            <a:xfrm>
              <a:off x="1793" y="493"/>
              <a:ext cx="2658" cy="2673"/>
            </a:xfrm>
            <a:custGeom>
              <a:avLst/>
              <a:gdLst>
                <a:gd name="T0" fmla="*/ 1122 w 1122"/>
                <a:gd name="T1" fmla="*/ 3 h 1127"/>
                <a:gd name="T2" fmla="*/ 1114 w 1122"/>
                <a:gd name="T3" fmla="*/ 0 h 1127"/>
                <a:gd name="T4" fmla="*/ 3 w 1122"/>
                <a:gd name="T5" fmla="*/ 1113 h 1127"/>
                <a:gd name="T6" fmla="*/ 0 w 1122"/>
                <a:gd name="T7" fmla="*/ 1127 h 1127"/>
                <a:gd name="T8" fmla="*/ 1122 w 1122"/>
                <a:gd name="T9" fmla="*/ 3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1127">
                  <a:moveTo>
                    <a:pt x="1122" y="3"/>
                  </a:moveTo>
                  <a:cubicBezTo>
                    <a:pt x="1119" y="2"/>
                    <a:pt x="1117" y="1"/>
                    <a:pt x="1114" y="0"/>
                  </a:cubicBezTo>
                  <a:lnTo>
                    <a:pt x="3" y="1113"/>
                  </a:lnTo>
                  <a:cubicBezTo>
                    <a:pt x="2" y="1118"/>
                    <a:pt x="1" y="1122"/>
                    <a:pt x="0" y="1127"/>
                  </a:cubicBezTo>
                  <a:lnTo>
                    <a:pt x="11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70"/>
            <p:cNvSpPr>
              <a:spLocks/>
            </p:cNvSpPr>
            <p:nvPr/>
          </p:nvSpPr>
          <p:spPr bwMode="auto">
            <a:xfrm>
              <a:off x="2776" y="450"/>
              <a:ext cx="472" cy="446"/>
            </a:xfrm>
            <a:custGeom>
              <a:avLst/>
              <a:gdLst>
                <a:gd name="T0" fmla="*/ 0 w 199"/>
                <a:gd name="T1" fmla="*/ 188 h 188"/>
                <a:gd name="T2" fmla="*/ 33 w 199"/>
                <a:gd name="T3" fmla="*/ 167 h 188"/>
                <a:gd name="T4" fmla="*/ 199 w 199"/>
                <a:gd name="T5" fmla="*/ 0 h 188"/>
                <a:gd name="T6" fmla="*/ 188 w 199"/>
                <a:gd name="T7" fmla="*/ 0 h 188"/>
                <a:gd name="T8" fmla="*/ 0 w 199"/>
                <a:gd name="T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88">
                  <a:moveTo>
                    <a:pt x="0" y="188"/>
                  </a:moveTo>
                  <a:cubicBezTo>
                    <a:pt x="11" y="180"/>
                    <a:pt x="22" y="173"/>
                    <a:pt x="33" y="167"/>
                  </a:cubicBezTo>
                  <a:lnTo>
                    <a:pt x="199" y="0"/>
                  </a:lnTo>
                  <a:cubicBezTo>
                    <a:pt x="195" y="0"/>
                    <a:pt x="192" y="0"/>
                    <a:pt x="188" y="0"/>
                  </a:cubicBezTo>
                  <a:lnTo>
                    <a:pt x="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71"/>
            <p:cNvSpPr>
              <a:spLocks/>
            </p:cNvSpPr>
            <p:nvPr/>
          </p:nvSpPr>
          <p:spPr bwMode="auto">
            <a:xfrm>
              <a:off x="3181" y="474"/>
              <a:ext cx="268" cy="244"/>
            </a:xfrm>
            <a:custGeom>
              <a:avLst/>
              <a:gdLst>
                <a:gd name="T0" fmla="*/ 0 w 113"/>
                <a:gd name="T1" fmla="*/ 103 h 103"/>
                <a:gd name="T2" fmla="*/ 1 w 113"/>
                <a:gd name="T3" fmla="*/ 103 h 103"/>
                <a:gd name="T4" fmla="*/ 14 w 113"/>
                <a:gd name="T5" fmla="*/ 101 h 103"/>
                <a:gd name="T6" fmla="*/ 113 w 113"/>
                <a:gd name="T7" fmla="*/ 1 h 103"/>
                <a:gd name="T8" fmla="*/ 104 w 113"/>
                <a:gd name="T9" fmla="*/ 0 h 103"/>
                <a:gd name="T10" fmla="*/ 0 w 113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103">
                  <a:moveTo>
                    <a:pt x="0" y="103"/>
                  </a:moveTo>
                  <a:cubicBezTo>
                    <a:pt x="1" y="103"/>
                    <a:pt x="1" y="103"/>
                    <a:pt x="1" y="103"/>
                  </a:cubicBezTo>
                  <a:cubicBezTo>
                    <a:pt x="5" y="102"/>
                    <a:pt x="10" y="101"/>
                    <a:pt x="14" y="101"/>
                  </a:cubicBezTo>
                  <a:lnTo>
                    <a:pt x="113" y="1"/>
                  </a:lnTo>
                  <a:cubicBezTo>
                    <a:pt x="110" y="1"/>
                    <a:pt x="107" y="0"/>
                    <a:pt x="104" y="0"/>
                  </a:cubicBezTo>
                  <a:lnTo>
                    <a:pt x="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72"/>
            <p:cNvSpPr>
              <a:spLocks/>
            </p:cNvSpPr>
            <p:nvPr/>
          </p:nvSpPr>
          <p:spPr bwMode="auto">
            <a:xfrm>
              <a:off x="1840" y="2177"/>
              <a:ext cx="578" cy="590"/>
            </a:xfrm>
            <a:custGeom>
              <a:avLst/>
              <a:gdLst>
                <a:gd name="T0" fmla="*/ 244 w 244"/>
                <a:gd name="T1" fmla="*/ 8 h 249"/>
                <a:gd name="T2" fmla="*/ 241 w 244"/>
                <a:gd name="T3" fmla="*/ 0 h 249"/>
                <a:gd name="T4" fmla="*/ 0 w 244"/>
                <a:gd name="T5" fmla="*/ 242 h 249"/>
                <a:gd name="T6" fmla="*/ 4 w 244"/>
                <a:gd name="T7" fmla="*/ 249 h 249"/>
                <a:gd name="T8" fmla="*/ 244 w 244"/>
                <a:gd name="T9" fmla="*/ 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9">
                  <a:moveTo>
                    <a:pt x="244" y="8"/>
                  </a:moveTo>
                  <a:cubicBezTo>
                    <a:pt x="243" y="6"/>
                    <a:pt x="242" y="3"/>
                    <a:pt x="241" y="0"/>
                  </a:cubicBezTo>
                  <a:lnTo>
                    <a:pt x="0" y="242"/>
                  </a:lnTo>
                  <a:cubicBezTo>
                    <a:pt x="1" y="244"/>
                    <a:pt x="3" y="246"/>
                    <a:pt x="4" y="249"/>
                  </a:cubicBezTo>
                  <a:lnTo>
                    <a:pt x="24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3"/>
            <p:cNvSpPr>
              <a:spLocks/>
            </p:cNvSpPr>
            <p:nvPr/>
          </p:nvSpPr>
          <p:spPr bwMode="auto">
            <a:xfrm>
              <a:off x="1883" y="2255"/>
              <a:ext cx="573" cy="581"/>
            </a:xfrm>
            <a:custGeom>
              <a:avLst/>
              <a:gdLst>
                <a:gd name="T0" fmla="*/ 242 w 242"/>
                <a:gd name="T1" fmla="*/ 8 h 245"/>
                <a:gd name="T2" fmla="*/ 238 w 242"/>
                <a:gd name="T3" fmla="*/ 0 h 245"/>
                <a:gd name="T4" fmla="*/ 0 w 242"/>
                <a:gd name="T5" fmla="*/ 238 h 245"/>
                <a:gd name="T6" fmla="*/ 5 w 242"/>
                <a:gd name="T7" fmla="*/ 245 h 245"/>
                <a:gd name="T8" fmla="*/ 242 w 242"/>
                <a:gd name="T9" fmla="*/ 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5">
                  <a:moveTo>
                    <a:pt x="242" y="8"/>
                  </a:moveTo>
                  <a:cubicBezTo>
                    <a:pt x="240" y="5"/>
                    <a:pt x="239" y="3"/>
                    <a:pt x="238" y="0"/>
                  </a:cubicBezTo>
                  <a:lnTo>
                    <a:pt x="0" y="238"/>
                  </a:lnTo>
                  <a:cubicBezTo>
                    <a:pt x="2" y="240"/>
                    <a:pt x="3" y="243"/>
                    <a:pt x="5" y="245"/>
                  </a:cubicBezTo>
                  <a:lnTo>
                    <a:pt x="24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74"/>
            <p:cNvSpPr>
              <a:spLocks/>
            </p:cNvSpPr>
            <p:nvPr/>
          </p:nvSpPr>
          <p:spPr bwMode="auto">
            <a:xfrm>
              <a:off x="1930" y="2329"/>
              <a:ext cx="569" cy="574"/>
            </a:xfrm>
            <a:custGeom>
              <a:avLst/>
              <a:gdLst>
                <a:gd name="T0" fmla="*/ 240 w 240"/>
                <a:gd name="T1" fmla="*/ 7 h 242"/>
                <a:gd name="T2" fmla="*/ 235 w 240"/>
                <a:gd name="T3" fmla="*/ 0 h 242"/>
                <a:gd name="T4" fmla="*/ 0 w 240"/>
                <a:gd name="T5" fmla="*/ 235 h 242"/>
                <a:gd name="T6" fmla="*/ 5 w 240"/>
                <a:gd name="T7" fmla="*/ 242 h 242"/>
                <a:gd name="T8" fmla="*/ 240 w 240"/>
                <a:gd name="T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2">
                  <a:moveTo>
                    <a:pt x="240" y="7"/>
                  </a:moveTo>
                  <a:cubicBezTo>
                    <a:pt x="238" y="5"/>
                    <a:pt x="237" y="2"/>
                    <a:pt x="235" y="0"/>
                  </a:cubicBezTo>
                  <a:lnTo>
                    <a:pt x="0" y="235"/>
                  </a:lnTo>
                  <a:cubicBezTo>
                    <a:pt x="2" y="237"/>
                    <a:pt x="4" y="240"/>
                    <a:pt x="5" y="242"/>
                  </a:cubicBezTo>
                  <a:lnTo>
                    <a:pt x="24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75"/>
            <p:cNvSpPr>
              <a:spLocks/>
            </p:cNvSpPr>
            <p:nvPr/>
          </p:nvSpPr>
          <p:spPr bwMode="auto">
            <a:xfrm>
              <a:off x="1729" y="1906"/>
              <a:ext cx="613" cy="631"/>
            </a:xfrm>
            <a:custGeom>
              <a:avLst/>
              <a:gdLst>
                <a:gd name="T0" fmla="*/ 259 w 259"/>
                <a:gd name="T1" fmla="*/ 10 h 266"/>
                <a:gd name="T2" fmla="*/ 257 w 259"/>
                <a:gd name="T3" fmla="*/ 0 h 266"/>
                <a:gd name="T4" fmla="*/ 0 w 259"/>
                <a:gd name="T5" fmla="*/ 258 h 266"/>
                <a:gd name="T6" fmla="*/ 3 w 259"/>
                <a:gd name="T7" fmla="*/ 266 h 266"/>
                <a:gd name="T8" fmla="*/ 259 w 259"/>
                <a:gd name="T9" fmla="*/ 1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6">
                  <a:moveTo>
                    <a:pt x="259" y="10"/>
                  </a:moveTo>
                  <a:cubicBezTo>
                    <a:pt x="258" y="7"/>
                    <a:pt x="258" y="4"/>
                    <a:pt x="257" y="0"/>
                  </a:cubicBezTo>
                  <a:lnTo>
                    <a:pt x="0" y="258"/>
                  </a:lnTo>
                  <a:cubicBezTo>
                    <a:pt x="1" y="261"/>
                    <a:pt x="2" y="264"/>
                    <a:pt x="3" y="266"/>
                  </a:cubicBezTo>
                  <a:lnTo>
                    <a:pt x="25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276"/>
            <p:cNvSpPr>
              <a:spLocks/>
            </p:cNvSpPr>
            <p:nvPr/>
          </p:nvSpPr>
          <p:spPr bwMode="auto">
            <a:xfrm>
              <a:off x="1800" y="2094"/>
              <a:ext cx="588" cy="600"/>
            </a:xfrm>
            <a:custGeom>
              <a:avLst/>
              <a:gdLst>
                <a:gd name="T0" fmla="*/ 248 w 248"/>
                <a:gd name="T1" fmla="*/ 8 h 253"/>
                <a:gd name="T2" fmla="*/ 245 w 248"/>
                <a:gd name="T3" fmla="*/ 0 h 253"/>
                <a:gd name="T4" fmla="*/ 0 w 248"/>
                <a:gd name="T5" fmla="*/ 246 h 253"/>
                <a:gd name="T6" fmla="*/ 3 w 248"/>
                <a:gd name="T7" fmla="*/ 253 h 253"/>
                <a:gd name="T8" fmla="*/ 248 w 248"/>
                <a:gd name="T9" fmla="*/ 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53">
                  <a:moveTo>
                    <a:pt x="248" y="8"/>
                  </a:moveTo>
                  <a:cubicBezTo>
                    <a:pt x="247" y="6"/>
                    <a:pt x="246" y="3"/>
                    <a:pt x="245" y="0"/>
                  </a:cubicBezTo>
                  <a:lnTo>
                    <a:pt x="0" y="246"/>
                  </a:lnTo>
                  <a:cubicBezTo>
                    <a:pt x="1" y="248"/>
                    <a:pt x="2" y="250"/>
                    <a:pt x="3" y="253"/>
                  </a:cubicBezTo>
                  <a:lnTo>
                    <a:pt x="24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77"/>
            <p:cNvSpPr>
              <a:spLocks/>
            </p:cNvSpPr>
            <p:nvPr/>
          </p:nvSpPr>
          <p:spPr bwMode="auto">
            <a:xfrm>
              <a:off x="1698" y="1802"/>
              <a:ext cx="633" cy="652"/>
            </a:xfrm>
            <a:custGeom>
              <a:avLst/>
              <a:gdLst>
                <a:gd name="T0" fmla="*/ 267 w 267"/>
                <a:gd name="T1" fmla="*/ 11 h 275"/>
                <a:gd name="T2" fmla="*/ 266 w 267"/>
                <a:gd name="T3" fmla="*/ 0 h 275"/>
                <a:gd name="T4" fmla="*/ 0 w 267"/>
                <a:gd name="T5" fmla="*/ 266 h 275"/>
                <a:gd name="T6" fmla="*/ 3 w 267"/>
                <a:gd name="T7" fmla="*/ 275 h 275"/>
                <a:gd name="T8" fmla="*/ 267 w 267"/>
                <a:gd name="T9" fmla="*/ 1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5">
                  <a:moveTo>
                    <a:pt x="267" y="11"/>
                  </a:moveTo>
                  <a:cubicBezTo>
                    <a:pt x="267" y="7"/>
                    <a:pt x="267" y="3"/>
                    <a:pt x="266" y="0"/>
                  </a:cubicBezTo>
                  <a:lnTo>
                    <a:pt x="0" y="266"/>
                  </a:lnTo>
                  <a:cubicBezTo>
                    <a:pt x="1" y="269"/>
                    <a:pt x="2" y="272"/>
                    <a:pt x="3" y="275"/>
                  </a:cubicBezTo>
                  <a:lnTo>
                    <a:pt x="26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78"/>
            <p:cNvSpPr>
              <a:spLocks/>
            </p:cNvSpPr>
            <p:nvPr/>
          </p:nvSpPr>
          <p:spPr bwMode="auto">
            <a:xfrm>
              <a:off x="1762" y="2004"/>
              <a:ext cx="599" cy="614"/>
            </a:xfrm>
            <a:custGeom>
              <a:avLst/>
              <a:gdLst>
                <a:gd name="T0" fmla="*/ 253 w 253"/>
                <a:gd name="T1" fmla="*/ 9 h 259"/>
                <a:gd name="T2" fmla="*/ 250 w 253"/>
                <a:gd name="T3" fmla="*/ 0 h 259"/>
                <a:gd name="T4" fmla="*/ 0 w 253"/>
                <a:gd name="T5" fmla="*/ 251 h 259"/>
                <a:gd name="T6" fmla="*/ 3 w 253"/>
                <a:gd name="T7" fmla="*/ 259 h 259"/>
                <a:gd name="T8" fmla="*/ 253 w 253"/>
                <a:gd name="T9" fmla="*/ 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259">
                  <a:moveTo>
                    <a:pt x="253" y="9"/>
                  </a:moveTo>
                  <a:cubicBezTo>
                    <a:pt x="252" y="6"/>
                    <a:pt x="251" y="3"/>
                    <a:pt x="250" y="0"/>
                  </a:cubicBezTo>
                  <a:lnTo>
                    <a:pt x="0" y="251"/>
                  </a:lnTo>
                  <a:cubicBezTo>
                    <a:pt x="1" y="254"/>
                    <a:pt x="2" y="256"/>
                    <a:pt x="3" y="259"/>
                  </a:cubicBezTo>
                  <a:lnTo>
                    <a:pt x="25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279"/>
            <p:cNvSpPr>
              <a:spLocks/>
            </p:cNvSpPr>
            <p:nvPr/>
          </p:nvSpPr>
          <p:spPr bwMode="auto">
            <a:xfrm>
              <a:off x="3020" y="457"/>
              <a:ext cx="332" cy="309"/>
            </a:xfrm>
            <a:custGeom>
              <a:avLst/>
              <a:gdLst>
                <a:gd name="T0" fmla="*/ 0 w 140"/>
                <a:gd name="T1" fmla="*/ 130 h 130"/>
                <a:gd name="T2" fmla="*/ 18 w 140"/>
                <a:gd name="T3" fmla="*/ 124 h 130"/>
                <a:gd name="T4" fmla="*/ 140 w 140"/>
                <a:gd name="T5" fmla="*/ 2 h 130"/>
                <a:gd name="T6" fmla="*/ 130 w 140"/>
                <a:gd name="T7" fmla="*/ 0 h 130"/>
                <a:gd name="T8" fmla="*/ 0 w 140"/>
                <a:gd name="T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0">
                  <a:moveTo>
                    <a:pt x="0" y="130"/>
                  </a:moveTo>
                  <a:cubicBezTo>
                    <a:pt x="6" y="128"/>
                    <a:pt x="12" y="126"/>
                    <a:pt x="18" y="124"/>
                  </a:cubicBezTo>
                  <a:lnTo>
                    <a:pt x="140" y="2"/>
                  </a:lnTo>
                  <a:cubicBezTo>
                    <a:pt x="137" y="1"/>
                    <a:pt x="133" y="1"/>
                    <a:pt x="130" y="0"/>
                  </a:cubicBezTo>
                  <a:lnTo>
                    <a:pt x="0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280"/>
            <p:cNvSpPr>
              <a:spLocks/>
            </p:cNvSpPr>
            <p:nvPr/>
          </p:nvSpPr>
          <p:spPr bwMode="auto">
            <a:xfrm>
              <a:off x="1684" y="505"/>
              <a:ext cx="1054" cy="1058"/>
            </a:xfrm>
            <a:custGeom>
              <a:avLst/>
              <a:gdLst>
                <a:gd name="T0" fmla="*/ 445 w 445"/>
                <a:gd name="T1" fmla="*/ 0 h 446"/>
                <a:gd name="T2" fmla="*/ 429 w 445"/>
                <a:gd name="T3" fmla="*/ 5 h 446"/>
                <a:gd name="T4" fmla="*/ 4 w 445"/>
                <a:gd name="T5" fmla="*/ 430 h 446"/>
                <a:gd name="T6" fmla="*/ 0 w 445"/>
                <a:gd name="T7" fmla="*/ 446 h 446"/>
                <a:gd name="T8" fmla="*/ 445 w 445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6">
                  <a:moveTo>
                    <a:pt x="445" y="0"/>
                  </a:moveTo>
                  <a:cubicBezTo>
                    <a:pt x="439" y="2"/>
                    <a:pt x="434" y="3"/>
                    <a:pt x="429" y="5"/>
                  </a:cubicBezTo>
                  <a:lnTo>
                    <a:pt x="4" y="430"/>
                  </a:lnTo>
                  <a:cubicBezTo>
                    <a:pt x="3" y="435"/>
                    <a:pt x="1" y="441"/>
                    <a:pt x="0" y="446"/>
                  </a:cubicBezTo>
                  <a:lnTo>
                    <a:pt x="4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281"/>
            <p:cNvSpPr>
              <a:spLocks/>
            </p:cNvSpPr>
            <p:nvPr/>
          </p:nvSpPr>
          <p:spPr bwMode="auto">
            <a:xfrm>
              <a:off x="1651" y="472"/>
              <a:ext cx="1234" cy="1238"/>
            </a:xfrm>
            <a:custGeom>
              <a:avLst/>
              <a:gdLst>
                <a:gd name="T0" fmla="*/ 521 w 521"/>
                <a:gd name="T1" fmla="*/ 0 h 522"/>
                <a:gd name="T2" fmla="*/ 507 w 521"/>
                <a:gd name="T3" fmla="*/ 2 h 522"/>
                <a:gd name="T4" fmla="*/ 2 w 521"/>
                <a:gd name="T5" fmla="*/ 508 h 522"/>
                <a:gd name="T6" fmla="*/ 0 w 521"/>
                <a:gd name="T7" fmla="*/ 522 h 522"/>
                <a:gd name="T8" fmla="*/ 521 w 521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522">
                  <a:moveTo>
                    <a:pt x="521" y="0"/>
                  </a:moveTo>
                  <a:cubicBezTo>
                    <a:pt x="517" y="1"/>
                    <a:pt x="512" y="2"/>
                    <a:pt x="507" y="2"/>
                  </a:cubicBezTo>
                  <a:lnTo>
                    <a:pt x="2" y="508"/>
                  </a:lnTo>
                  <a:cubicBezTo>
                    <a:pt x="1" y="513"/>
                    <a:pt x="0" y="518"/>
                    <a:pt x="0" y="522"/>
                  </a:cubicBezTo>
                  <a:lnTo>
                    <a:pt x="5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82"/>
            <p:cNvSpPr>
              <a:spLocks/>
            </p:cNvSpPr>
            <p:nvPr/>
          </p:nvSpPr>
          <p:spPr bwMode="auto">
            <a:xfrm>
              <a:off x="1632" y="453"/>
              <a:ext cx="1386" cy="1389"/>
            </a:xfrm>
            <a:custGeom>
              <a:avLst/>
              <a:gdLst>
                <a:gd name="T0" fmla="*/ 585 w 585"/>
                <a:gd name="T1" fmla="*/ 0 h 586"/>
                <a:gd name="T2" fmla="*/ 572 w 585"/>
                <a:gd name="T3" fmla="*/ 2 h 586"/>
                <a:gd name="T4" fmla="*/ 2 w 585"/>
                <a:gd name="T5" fmla="*/ 573 h 586"/>
                <a:gd name="T6" fmla="*/ 0 w 585"/>
                <a:gd name="T7" fmla="*/ 586 h 586"/>
                <a:gd name="T8" fmla="*/ 585 w 585"/>
                <a:gd name="T9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5" h="586">
                  <a:moveTo>
                    <a:pt x="585" y="0"/>
                  </a:moveTo>
                  <a:cubicBezTo>
                    <a:pt x="581" y="1"/>
                    <a:pt x="576" y="1"/>
                    <a:pt x="572" y="2"/>
                  </a:cubicBezTo>
                  <a:lnTo>
                    <a:pt x="2" y="573"/>
                  </a:lnTo>
                  <a:cubicBezTo>
                    <a:pt x="1" y="577"/>
                    <a:pt x="1" y="581"/>
                    <a:pt x="0" y="586"/>
                  </a:cubicBezTo>
                  <a:lnTo>
                    <a:pt x="58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83"/>
            <p:cNvSpPr>
              <a:spLocks/>
            </p:cNvSpPr>
            <p:nvPr/>
          </p:nvSpPr>
          <p:spPr bwMode="auto">
            <a:xfrm>
              <a:off x="3146" y="1966"/>
              <a:ext cx="1528" cy="1532"/>
            </a:xfrm>
            <a:custGeom>
              <a:avLst/>
              <a:gdLst>
                <a:gd name="T0" fmla="*/ 645 w 645"/>
                <a:gd name="T1" fmla="*/ 0 h 646"/>
                <a:gd name="T2" fmla="*/ 0 w 645"/>
                <a:gd name="T3" fmla="*/ 646 h 646"/>
                <a:gd name="T4" fmla="*/ 11 w 645"/>
                <a:gd name="T5" fmla="*/ 646 h 646"/>
                <a:gd name="T6" fmla="*/ 644 w 645"/>
                <a:gd name="T7" fmla="*/ 11 h 646"/>
                <a:gd name="T8" fmla="*/ 645 w 645"/>
                <a:gd name="T9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646">
                  <a:moveTo>
                    <a:pt x="645" y="0"/>
                  </a:moveTo>
                  <a:lnTo>
                    <a:pt x="0" y="646"/>
                  </a:lnTo>
                  <a:cubicBezTo>
                    <a:pt x="3" y="646"/>
                    <a:pt x="7" y="646"/>
                    <a:pt x="11" y="646"/>
                  </a:cubicBezTo>
                  <a:lnTo>
                    <a:pt x="644" y="11"/>
                  </a:lnTo>
                  <a:cubicBezTo>
                    <a:pt x="645" y="7"/>
                    <a:pt x="645" y="4"/>
                    <a:pt x="6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84"/>
            <p:cNvSpPr>
              <a:spLocks/>
            </p:cNvSpPr>
            <p:nvPr/>
          </p:nvSpPr>
          <p:spPr bwMode="auto">
            <a:xfrm>
              <a:off x="1743" y="567"/>
              <a:ext cx="820" cy="820"/>
            </a:xfrm>
            <a:custGeom>
              <a:avLst/>
              <a:gdLst>
                <a:gd name="T0" fmla="*/ 346 w 346"/>
                <a:gd name="T1" fmla="*/ 0 h 346"/>
                <a:gd name="T2" fmla="*/ 326 w 346"/>
                <a:gd name="T3" fmla="*/ 8 h 346"/>
                <a:gd name="T4" fmla="*/ 9 w 346"/>
                <a:gd name="T5" fmla="*/ 326 h 346"/>
                <a:gd name="T6" fmla="*/ 0 w 346"/>
                <a:gd name="T7" fmla="*/ 346 h 346"/>
                <a:gd name="T8" fmla="*/ 346 w 346"/>
                <a:gd name="T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340" y="2"/>
                    <a:pt x="333" y="5"/>
                    <a:pt x="326" y="8"/>
                  </a:cubicBezTo>
                  <a:lnTo>
                    <a:pt x="9" y="326"/>
                  </a:lnTo>
                  <a:cubicBezTo>
                    <a:pt x="6" y="333"/>
                    <a:pt x="3" y="339"/>
                    <a:pt x="0" y="346"/>
                  </a:cubicBez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85"/>
            <p:cNvSpPr>
              <a:spLocks/>
            </p:cNvSpPr>
            <p:nvPr/>
          </p:nvSpPr>
          <p:spPr bwMode="auto">
            <a:xfrm>
              <a:off x="1627" y="448"/>
              <a:ext cx="1509" cy="1513"/>
            </a:xfrm>
            <a:custGeom>
              <a:avLst/>
              <a:gdLst>
                <a:gd name="T0" fmla="*/ 637 w 637"/>
                <a:gd name="T1" fmla="*/ 0 h 638"/>
                <a:gd name="T2" fmla="*/ 626 w 637"/>
                <a:gd name="T3" fmla="*/ 0 h 638"/>
                <a:gd name="T4" fmla="*/ 0 w 637"/>
                <a:gd name="T5" fmla="*/ 627 h 638"/>
                <a:gd name="T6" fmla="*/ 0 w 637"/>
                <a:gd name="T7" fmla="*/ 638 h 638"/>
                <a:gd name="T8" fmla="*/ 637 w 63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7" h="638">
                  <a:moveTo>
                    <a:pt x="637" y="0"/>
                  </a:moveTo>
                  <a:cubicBezTo>
                    <a:pt x="633" y="0"/>
                    <a:pt x="630" y="0"/>
                    <a:pt x="626" y="0"/>
                  </a:cubicBezTo>
                  <a:lnTo>
                    <a:pt x="0" y="627"/>
                  </a:lnTo>
                  <a:cubicBezTo>
                    <a:pt x="0" y="630"/>
                    <a:pt x="0" y="634"/>
                    <a:pt x="0" y="638"/>
                  </a:cubicBezTo>
                  <a:lnTo>
                    <a:pt x="6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86"/>
            <p:cNvSpPr>
              <a:spLocks/>
            </p:cNvSpPr>
            <p:nvPr/>
          </p:nvSpPr>
          <p:spPr bwMode="auto">
            <a:xfrm>
              <a:off x="1871" y="692"/>
              <a:ext cx="453" cy="453"/>
            </a:xfrm>
            <a:custGeom>
              <a:avLst/>
              <a:gdLst>
                <a:gd name="T0" fmla="*/ 191 w 191"/>
                <a:gd name="T1" fmla="*/ 0 h 191"/>
                <a:gd name="T2" fmla="*/ 154 w 191"/>
                <a:gd name="T3" fmla="*/ 26 h 191"/>
                <a:gd name="T4" fmla="*/ 26 w 191"/>
                <a:gd name="T5" fmla="*/ 154 h 191"/>
                <a:gd name="T6" fmla="*/ 0 w 191"/>
                <a:gd name="T7" fmla="*/ 191 h 191"/>
                <a:gd name="T8" fmla="*/ 191 w 191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91">
                  <a:moveTo>
                    <a:pt x="191" y="0"/>
                  </a:moveTo>
                  <a:cubicBezTo>
                    <a:pt x="178" y="8"/>
                    <a:pt x="166" y="17"/>
                    <a:pt x="154" y="26"/>
                  </a:cubicBezTo>
                  <a:lnTo>
                    <a:pt x="26" y="154"/>
                  </a:lnTo>
                  <a:cubicBezTo>
                    <a:pt x="17" y="166"/>
                    <a:pt x="8" y="179"/>
                    <a:pt x="0" y="191"/>
                  </a:cubicBezTo>
                  <a:lnTo>
                    <a:pt x="1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287"/>
            <p:cNvSpPr>
              <a:spLocks/>
            </p:cNvSpPr>
            <p:nvPr/>
          </p:nvSpPr>
          <p:spPr bwMode="auto">
            <a:xfrm>
              <a:off x="3885" y="704"/>
              <a:ext cx="125" cy="119"/>
            </a:xfrm>
            <a:custGeom>
              <a:avLst/>
              <a:gdLst>
                <a:gd name="T0" fmla="*/ 0 w 53"/>
                <a:gd name="T1" fmla="*/ 46 h 50"/>
                <a:gd name="T2" fmla="*/ 7 w 53"/>
                <a:gd name="T3" fmla="*/ 50 h 50"/>
                <a:gd name="T4" fmla="*/ 53 w 53"/>
                <a:gd name="T5" fmla="*/ 4 h 50"/>
                <a:gd name="T6" fmla="*/ 46 w 53"/>
                <a:gd name="T7" fmla="*/ 0 h 50"/>
                <a:gd name="T8" fmla="*/ 0 w 53"/>
                <a:gd name="T9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0" y="46"/>
                  </a:moveTo>
                  <a:cubicBezTo>
                    <a:pt x="2" y="48"/>
                    <a:pt x="5" y="49"/>
                    <a:pt x="7" y="50"/>
                  </a:cubicBezTo>
                  <a:lnTo>
                    <a:pt x="53" y="4"/>
                  </a:lnTo>
                  <a:cubicBezTo>
                    <a:pt x="51" y="3"/>
                    <a:pt x="48" y="1"/>
                    <a:pt x="46" y="0"/>
                  </a:cubicBez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88"/>
            <p:cNvSpPr>
              <a:spLocks/>
            </p:cNvSpPr>
            <p:nvPr/>
          </p:nvSpPr>
          <p:spPr bwMode="auto">
            <a:xfrm>
              <a:off x="3724" y="619"/>
              <a:ext cx="144" cy="135"/>
            </a:xfrm>
            <a:custGeom>
              <a:avLst/>
              <a:gdLst>
                <a:gd name="T0" fmla="*/ 0 w 61"/>
                <a:gd name="T1" fmla="*/ 54 h 57"/>
                <a:gd name="T2" fmla="*/ 8 w 61"/>
                <a:gd name="T3" fmla="*/ 57 h 57"/>
                <a:gd name="T4" fmla="*/ 61 w 61"/>
                <a:gd name="T5" fmla="*/ 4 h 57"/>
                <a:gd name="T6" fmla="*/ 54 w 61"/>
                <a:gd name="T7" fmla="*/ 0 h 57"/>
                <a:gd name="T8" fmla="*/ 0 w 61"/>
                <a:gd name="T9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7">
                  <a:moveTo>
                    <a:pt x="0" y="54"/>
                  </a:moveTo>
                  <a:cubicBezTo>
                    <a:pt x="3" y="55"/>
                    <a:pt x="5" y="56"/>
                    <a:pt x="8" y="57"/>
                  </a:cubicBezTo>
                  <a:lnTo>
                    <a:pt x="61" y="4"/>
                  </a:lnTo>
                  <a:cubicBezTo>
                    <a:pt x="59" y="3"/>
                    <a:pt x="56" y="1"/>
                    <a:pt x="54" y="0"/>
                  </a:cubicBez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89"/>
            <p:cNvSpPr>
              <a:spLocks/>
            </p:cNvSpPr>
            <p:nvPr/>
          </p:nvSpPr>
          <p:spPr bwMode="auto">
            <a:xfrm>
              <a:off x="3958" y="752"/>
              <a:ext cx="119" cy="113"/>
            </a:xfrm>
            <a:custGeom>
              <a:avLst/>
              <a:gdLst>
                <a:gd name="T0" fmla="*/ 43 w 50"/>
                <a:gd name="T1" fmla="*/ 0 h 48"/>
                <a:gd name="T2" fmla="*/ 0 w 50"/>
                <a:gd name="T3" fmla="*/ 43 h 48"/>
                <a:gd name="T4" fmla="*/ 7 w 50"/>
                <a:gd name="T5" fmla="*/ 48 h 48"/>
                <a:gd name="T6" fmla="*/ 50 w 50"/>
                <a:gd name="T7" fmla="*/ 5 h 48"/>
                <a:gd name="T8" fmla="*/ 43 w 5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8">
                  <a:moveTo>
                    <a:pt x="43" y="0"/>
                  </a:moveTo>
                  <a:lnTo>
                    <a:pt x="0" y="43"/>
                  </a:lnTo>
                  <a:cubicBezTo>
                    <a:pt x="2" y="45"/>
                    <a:pt x="4" y="46"/>
                    <a:pt x="7" y="48"/>
                  </a:cubicBezTo>
                  <a:lnTo>
                    <a:pt x="50" y="5"/>
                  </a:lnTo>
                  <a:cubicBezTo>
                    <a:pt x="48" y="3"/>
                    <a:pt x="45" y="1"/>
                    <a:pt x="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90"/>
            <p:cNvSpPr>
              <a:spLocks/>
            </p:cNvSpPr>
            <p:nvPr/>
          </p:nvSpPr>
          <p:spPr bwMode="auto">
            <a:xfrm>
              <a:off x="3430" y="519"/>
              <a:ext cx="199" cy="178"/>
            </a:xfrm>
            <a:custGeom>
              <a:avLst/>
              <a:gdLst>
                <a:gd name="T0" fmla="*/ 0 w 84"/>
                <a:gd name="T1" fmla="*/ 75 h 75"/>
                <a:gd name="T2" fmla="*/ 11 w 84"/>
                <a:gd name="T3" fmla="*/ 75 h 75"/>
                <a:gd name="T4" fmla="*/ 84 w 84"/>
                <a:gd name="T5" fmla="*/ 3 h 75"/>
                <a:gd name="T6" fmla="*/ 76 w 84"/>
                <a:gd name="T7" fmla="*/ 0 h 75"/>
                <a:gd name="T8" fmla="*/ 0 w 84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5">
                  <a:moveTo>
                    <a:pt x="0" y="75"/>
                  </a:moveTo>
                  <a:cubicBezTo>
                    <a:pt x="4" y="75"/>
                    <a:pt x="8" y="75"/>
                    <a:pt x="11" y="75"/>
                  </a:cubicBezTo>
                  <a:lnTo>
                    <a:pt x="84" y="3"/>
                  </a:lnTo>
                  <a:cubicBezTo>
                    <a:pt x="81" y="2"/>
                    <a:pt x="78" y="1"/>
                    <a:pt x="76" y="0"/>
                  </a:cubicBez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1"/>
            <p:cNvSpPr>
              <a:spLocks/>
            </p:cNvSpPr>
            <p:nvPr/>
          </p:nvSpPr>
          <p:spPr bwMode="auto">
            <a:xfrm>
              <a:off x="3537" y="548"/>
              <a:ext cx="175" cy="161"/>
            </a:xfrm>
            <a:custGeom>
              <a:avLst/>
              <a:gdLst>
                <a:gd name="T0" fmla="*/ 0 w 74"/>
                <a:gd name="T1" fmla="*/ 67 h 68"/>
                <a:gd name="T2" fmla="*/ 10 w 74"/>
                <a:gd name="T3" fmla="*/ 68 h 68"/>
                <a:gd name="T4" fmla="*/ 74 w 74"/>
                <a:gd name="T5" fmla="*/ 4 h 68"/>
                <a:gd name="T6" fmla="*/ 66 w 74"/>
                <a:gd name="T7" fmla="*/ 0 h 68"/>
                <a:gd name="T8" fmla="*/ 0 w 74"/>
                <a:gd name="T9" fmla="*/ 6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8">
                  <a:moveTo>
                    <a:pt x="0" y="67"/>
                  </a:moveTo>
                  <a:cubicBezTo>
                    <a:pt x="3" y="67"/>
                    <a:pt x="7" y="67"/>
                    <a:pt x="10" y="68"/>
                  </a:cubicBezTo>
                  <a:lnTo>
                    <a:pt x="74" y="4"/>
                  </a:lnTo>
                  <a:cubicBezTo>
                    <a:pt x="72" y="2"/>
                    <a:pt x="69" y="1"/>
                    <a:pt x="66" y="0"/>
                  </a:cubicBez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292"/>
            <p:cNvSpPr>
              <a:spLocks/>
            </p:cNvSpPr>
            <p:nvPr/>
          </p:nvSpPr>
          <p:spPr bwMode="auto">
            <a:xfrm>
              <a:off x="3807" y="659"/>
              <a:ext cx="135" cy="126"/>
            </a:xfrm>
            <a:custGeom>
              <a:avLst/>
              <a:gdLst>
                <a:gd name="T0" fmla="*/ 0 w 57"/>
                <a:gd name="T1" fmla="*/ 50 h 53"/>
                <a:gd name="T2" fmla="*/ 8 w 57"/>
                <a:gd name="T3" fmla="*/ 53 h 53"/>
                <a:gd name="T4" fmla="*/ 57 w 57"/>
                <a:gd name="T5" fmla="*/ 5 h 53"/>
                <a:gd name="T6" fmla="*/ 50 w 57"/>
                <a:gd name="T7" fmla="*/ 0 h 53"/>
                <a:gd name="T8" fmla="*/ 0 w 57"/>
                <a:gd name="T9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3">
                  <a:moveTo>
                    <a:pt x="0" y="50"/>
                  </a:moveTo>
                  <a:cubicBezTo>
                    <a:pt x="3" y="51"/>
                    <a:pt x="5" y="52"/>
                    <a:pt x="8" y="53"/>
                  </a:cubicBezTo>
                  <a:lnTo>
                    <a:pt x="57" y="5"/>
                  </a:lnTo>
                  <a:cubicBezTo>
                    <a:pt x="54" y="3"/>
                    <a:pt x="52" y="2"/>
                    <a:pt x="50" y="0"/>
                  </a:cubicBezTo>
                  <a:lnTo>
                    <a:pt x="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293"/>
            <p:cNvSpPr>
              <a:spLocks/>
            </p:cNvSpPr>
            <p:nvPr/>
          </p:nvSpPr>
          <p:spPr bwMode="auto">
            <a:xfrm>
              <a:off x="3314" y="493"/>
              <a:ext cx="227" cy="206"/>
            </a:xfrm>
            <a:custGeom>
              <a:avLst/>
              <a:gdLst>
                <a:gd name="T0" fmla="*/ 0 w 96"/>
                <a:gd name="T1" fmla="*/ 87 h 87"/>
                <a:gd name="T2" fmla="*/ 12 w 96"/>
                <a:gd name="T3" fmla="*/ 86 h 87"/>
                <a:gd name="T4" fmla="*/ 96 w 96"/>
                <a:gd name="T5" fmla="*/ 3 h 87"/>
                <a:gd name="T6" fmla="*/ 87 w 96"/>
                <a:gd name="T7" fmla="*/ 0 h 87"/>
                <a:gd name="T8" fmla="*/ 0 w 96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7">
                  <a:moveTo>
                    <a:pt x="0" y="87"/>
                  </a:moveTo>
                  <a:cubicBezTo>
                    <a:pt x="4" y="87"/>
                    <a:pt x="8" y="87"/>
                    <a:pt x="12" y="86"/>
                  </a:cubicBezTo>
                  <a:lnTo>
                    <a:pt x="96" y="3"/>
                  </a:lnTo>
                  <a:cubicBezTo>
                    <a:pt x="93" y="2"/>
                    <a:pt x="90" y="1"/>
                    <a:pt x="87" y="0"/>
                  </a:cubicBez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294"/>
            <p:cNvSpPr>
              <a:spLocks/>
            </p:cNvSpPr>
            <p:nvPr/>
          </p:nvSpPr>
          <p:spPr bwMode="auto">
            <a:xfrm>
              <a:off x="3634" y="583"/>
              <a:ext cx="158" cy="145"/>
            </a:xfrm>
            <a:custGeom>
              <a:avLst/>
              <a:gdLst>
                <a:gd name="T0" fmla="*/ 0 w 67"/>
                <a:gd name="T1" fmla="*/ 59 h 61"/>
                <a:gd name="T2" fmla="*/ 9 w 67"/>
                <a:gd name="T3" fmla="*/ 61 h 61"/>
                <a:gd name="T4" fmla="*/ 67 w 67"/>
                <a:gd name="T5" fmla="*/ 3 h 61"/>
                <a:gd name="T6" fmla="*/ 59 w 67"/>
                <a:gd name="T7" fmla="*/ 0 h 61"/>
                <a:gd name="T8" fmla="*/ 0 w 67"/>
                <a:gd name="T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0" y="59"/>
                  </a:moveTo>
                  <a:cubicBezTo>
                    <a:pt x="3" y="60"/>
                    <a:pt x="6" y="60"/>
                    <a:pt x="9" y="61"/>
                  </a:cubicBezTo>
                  <a:lnTo>
                    <a:pt x="67" y="3"/>
                  </a:lnTo>
                  <a:cubicBezTo>
                    <a:pt x="64" y="2"/>
                    <a:pt x="62" y="1"/>
                    <a:pt x="59" y="0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295"/>
            <p:cNvSpPr>
              <a:spLocks/>
            </p:cNvSpPr>
            <p:nvPr/>
          </p:nvSpPr>
          <p:spPr bwMode="auto">
            <a:xfrm>
              <a:off x="2835" y="3230"/>
              <a:ext cx="261" cy="239"/>
            </a:xfrm>
            <a:custGeom>
              <a:avLst/>
              <a:gdLst>
                <a:gd name="T0" fmla="*/ 110 w 110"/>
                <a:gd name="T1" fmla="*/ 0 h 101"/>
                <a:gd name="T2" fmla="*/ 96 w 110"/>
                <a:gd name="T3" fmla="*/ 3 h 101"/>
                <a:gd name="T4" fmla="*/ 0 w 110"/>
                <a:gd name="T5" fmla="*/ 99 h 101"/>
                <a:gd name="T6" fmla="*/ 10 w 110"/>
                <a:gd name="T7" fmla="*/ 101 h 101"/>
                <a:gd name="T8" fmla="*/ 110 w 110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01">
                  <a:moveTo>
                    <a:pt x="110" y="0"/>
                  </a:moveTo>
                  <a:cubicBezTo>
                    <a:pt x="106" y="1"/>
                    <a:pt x="101" y="2"/>
                    <a:pt x="96" y="3"/>
                  </a:cubicBezTo>
                  <a:lnTo>
                    <a:pt x="0" y="99"/>
                  </a:lnTo>
                  <a:cubicBezTo>
                    <a:pt x="3" y="100"/>
                    <a:pt x="6" y="100"/>
                    <a:pt x="10" y="101"/>
                  </a:cubicBezTo>
                  <a:lnTo>
                    <a:pt x="1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296"/>
            <p:cNvSpPr>
              <a:spLocks/>
            </p:cNvSpPr>
            <p:nvPr/>
          </p:nvSpPr>
          <p:spPr bwMode="auto">
            <a:xfrm>
              <a:off x="2575" y="3235"/>
              <a:ext cx="173" cy="156"/>
            </a:xfrm>
            <a:custGeom>
              <a:avLst/>
              <a:gdLst>
                <a:gd name="T0" fmla="*/ 73 w 73"/>
                <a:gd name="T1" fmla="*/ 1 h 66"/>
                <a:gd name="T2" fmla="*/ 63 w 73"/>
                <a:gd name="T3" fmla="*/ 0 h 66"/>
                <a:gd name="T4" fmla="*/ 0 w 73"/>
                <a:gd name="T5" fmla="*/ 63 h 66"/>
                <a:gd name="T6" fmla="*/ 8 w 73"/>
                <a:gd name="T7" fmla="*/ 66 h 66"/>
                <a:gd name="T8" fmla="*/ 73 w 73"/>
                <a:gd name="T9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6">
                  <a:moveTo>
                    <a:pt x="73" y="1"/>
                  </a:moveTo>
                  <a:cubicBezTo>
                    <a:pt x="70" y="1"/>
                    <a:pt x="66" y="0"/>
                    <a:pt x="63" y="0"/>
                  </a:cubicBezTo>
                  <a:lnTo>
                    <a:pt x="0" y="63"/>
                  </a:lnTo>
                  <a:cubicBezTo>
                    <a:pt x="3" y="64"/>
                    <a:pt x="5" y="65"/>
                    <a:pt x="8" y="66"/>
                  </a:cubicBezTo>
                  <a:lnTo>
                    <a:pt x="7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297"/>
            <p:cNvSpPr>
              <a:spLocks/>
            </p:cNvSpPr>
            <p:nvPr/>
          </p:nvSpPr>
          <p:spPr bwMode="auto">
            <a:xfrm>
              <a:off x="2743" y="3246"/>
              <a:ext cx="223" cy="202"/>
            </a:xfrm>
            <a:custGeom>
              <a:avLst/>
              <a:gdLst>
                <a:gd name="T0" fmla="*/ 94 w 94"/>
                <a:gd name="T1" fmla="*/ 0 h 85"/>
                <a:gd name="T2" fmla="*/ 82 w 94"/>
                <a:gd name="T3" fmla="*/ 0 h 85"/>
                <a:gd name="T4" fmla="*/ 0 w 94"/>
                <a:gd name="T5" fmla="*/ 82 h 85"/>
                <a:gd name="T6" fmla="*/ 9 w 94"/>
                <a:gd name="T7" fmla="*/ 85 h 85"/>
                <a:gd name="T8" fmla="*/ 94 w 9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5">
                  <a:moveTo>
                    <a:pt x="94" y="0"/>
                  </a:moveTo>
                  <a:cubicBezTo>
                    <a:pt x="90" y="0"/>
                    <a:pt x="86" y="0"/>
                    <a:pt x="82" y="0"/>
                  </a:cubicBezTo>
                  <a:lnTo>
                    <a:pt x="0" y="82"/>
                  </a:lnTo>
                  <a:cubicBezTo>
                    <a:pt x="3" y="83"/>
                    <a:pt x="6" y="84"/>
                    <a:pt x="9" y="85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298"/>
            <p:cNvSpPr>
              <a:spLocks/>
            </p:cNvSpPr>
            <p:nvPr/>
          </p:nvSpPr>
          <p:spPr bwMode="auto">
            <a:xfrm>
              <a:off x="2658" y="3246"/>
              <a:ext cx="194" cy="176"/>
            </a:xfrm>
            <a:custGeom>
              <a:avLst/>
              <a:gdLst>
                <a:gd name="T0" fmla="*/ 82 w 82"/>
                <a:gd name="T1" fmla="*/ 0 h 74"/>
                <a:gd name="T2" fmla="*/ 71 w 82"/>
                <a:gd name="T3" fmla="*/ 0 h 74"/>
                <a:gd name="T4" fmla="*/ 0 w 82"/>
                <a:gd name="T5" fmla="*/ 71 h 74"/>
                <a:gd name="T6" fmla="*/ 8 w 82"/>
                <a:gd name="T7" fmla="*/ 74 h 74"/>
                <a:gd name="T8" fmla="*/ 82 w 82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4">
                  <a:moveTo>
                    <a:pt x="82" y="0"/>
                  </a:moveTo>
                  <a:cubicBezTo>
                    <a:pt x="78" y="0"/>
                    <a:pt x="75" y="0"/>
                    <a:pt x="71" y="0"/>
                  </a:cubicBezTo>
                  <a:lnTo>
                    <a:pt x="0" y="71"/>
                  </a:lnTo>
                  <a:cubicBezTo>
                    <a:pt x="3" y="72"/>
                    <a:pt x="5" y="73"/>
                    <a:pt x="8" y="74"/>
                  </a:cubicBezTo>
                  <a:lnTo>
                    <a:pt x="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299"/>
            <p:cNvSpPr>
              <a:spLocks/>
            </p:cNvSpPr>
            <p:nvPr/>
          </p:nvSpPr>
          <p:spPr bwMode="auto">
            <a:xfrm>
              <a:off x="2347" y="3154"/>
              <a:ext cx="133" cy="123"/>
            </a:xfrm>
            <a:custGeom>
              <a:avLst/>
              <a:gdLst>
                <a:gd name="T0" fmla="*/ 56 w 56"/>
                <a:gd name="T1" fmla="*/ 3 h 52"/>
                <a:gd name="T2" fmla="*/ 48 w 56"/>
                <a:gd name="T3" fmla="*/ 0 h 52"/>
                <a:gd name="T4" fmla="*/ 0 w 56"/>
                <a:gd name="T5" fmla="*/ 48 h 52"/>
                <a:gd name="T6" fmla="*/ 7 w 56"/>
                <a:gd name="T7" fmla="*/ 52 h 52"/>
                <a:gd name="T8" fmla="*/ 56 w 56"/>
                <a:gd name="T9" fmla="*/ 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2">
                  <a:moveTo>
                    <a:pt x="56" y="3"/>
                  </a:moveTo>
                  <a:cubicBezTo>
                    <a:pt x="54" y="2"/>
                    <a:pt x="51" y="1"/>
                    <a:pt x="48" y="0"/>
                  </a:cubicBezTo>
                  <a:lnTo>
                    <a:pt x="0" y="48"/>
                  </a:lnTo>
                  <a:cubicBezTo>
                    <a:pt x="3" y="50"/>
                    <a:pt x="5" y="51"/>
                    <a:pt x="7" y="52"/>
                  </a:cubicBezTo>
                  <a:lnTo>
                    <a:pt x="5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00"/>
            <p:cNvSpPr>
              <a:spLocks/>
            </p:cNvSpPr>
            <p:nvPr/>
          </p:nvSpPr>
          <p:spPr bwMode="auto">
            <a:xfrm>
              <a:off x="2494" y="3213"/>
              <a:ext cx="159" cy="145"/>
            </a:xfrm>
            <a:custGeom>
              <a:avLst/>
              <a:gdLst>
                <a:gd name="T0" fmla="*/ 67 w 67"/>
                <a:gd name="T1" fmla="*/ 2 h 61"/>
                <a:gd name="T2" fmla="*/ 57 w 67"/>
                <a:gd name="T3" fmla="*/ 0 h 61"/>
                <a:gd name="T4" fmla="*/ 0 w 67"/>
                <a:gd name="T5" fmla="*/ 57 h 61"/>
                <a:gd name="T6" fmla="*/ 8 w 67"/>
                <a:gd name="T7" fmla="*/ 61 h 61"/>
                <a:gd name="T8" fmla="*/ 67 w 67"/>
                <a:gd name="T9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67" y="2"/>
                  </a:moveTo>
                  <a:cubicBezTo>
                    <a:pt x="63" y="2"/>
                    <a:pt x="60" y="1"/>
                    <a:pt x="57" y="0"/>
                  </a:cubicBezTo>
                  <a:lnTo>
                    <a:pt x="0" y="57"/>
                  </a:lnTo>
                  <a:cubicBezTo>
                    <a:pt x="3" y="58"/>
                    <a:pt x="6" y="60"/>
                    <a:pt x="8" y="61"/>
                  </a:cubicBezTo>
                  <a:lnTo>
                    <a:pt x="6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301"/>
            <p:cNvSpPr>
              <a:spLocks/>
            </p:cNvSpPr>
            <p:nvPr/>
          </p:nvSpPr>
          <p:spPr bwMode="auto">
            <a:xfrm>
              <a:off x="2279" y="3116"/>
              <a:ext cx="125" cy="119"/>
            </a:xfrm>
            <a:custGeom>
              <a:avLst/>
              <a:gdLst>
                <a:gd name="T0" fmla="*/ 53 w 53"/>
                <a:gd name="T1" fmla="*/ 4 h 50"/>
                <a:gd name="T2" fmla="*/ 45 w 53"/>
                <a:gd name="T3" fmla="*/ 0 h 50"/>
                <a:gd name="T4" fmla="*/ 0 w 53"/>
                <a:gd name="T5" fmla="*/ 45 h 50"/>
                <a:gd name="T6" fmla="*/ 7 w 53"/>
                <a:gd name="T7" fmla="*/ 50 h 50"/>
                <a:gd name="T8" fmla="*/ 53 w 53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53" y="4"/>
                  </a:moveTo>
                  <a:cubicBezTo>
                    <a:pt x="50" y="2"/>
                    <a:pt x="48" y="1"/>
                    <a:pt x="45" y="0"/>
                  </a:cubicBezTo>
                  <a:lnTo>
                    <a:pt x="0" y="45"/>
                  </a:lnTo>
                  <a:cubicBezTo>
                    <a:pt x="2" y="47"/>
                    <a:pt x="5" y="48"/>
                    <a:pt x="7" y="50"/>
                  </a:cubicBezTo>
                  <a:lnTo>
                    <a:pt x="53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302"/>
            <p:cNvSpPr>
              <a:spLocks/>
            </p:cNvSpPr>
            <p:nvPr/>
          </p:nvSpPr>
          <p:spPr bwMode="auto">
            <a:xfrm>
              <a:off x="1795" y="540"/>
              <a:ext cx="2713" cy="2732"/>
            </a:xfrm>
            <a:custGeom>
              <a:avLst/>
              <a:gdLst>
                <a:gd name="T0" fmla="*/ 1145 w 1145"/>
                <a:gd name="T1" fmla="*/ 7 h 1152"/>
                <a:gd name="T2" fmla="*/ 1141 w 1145"/>
                <a:gd name="T3" fmla="*/ 0 h 1152"/>
                <a:gd name="T4" fmla="*/ 0 w 1145"/>
                <a:gd name="T5" fmla="*/ 1142 h 1152"/>
                <a:gd name="T6" fmla="*/ 2 w 1145"/>
                <a:gd name="T7" fmla="*/ 1152 h 1152"/>
                <a:gd name="T8" fmla="*/ 1145 w 1145"/>
                <a:gd name="T9" fmla="*/ 7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5" h="1152">
                  <a:moveTo>
                    <a:pt x="1145" y="7"/>
                  </a:moveTo>
                  <a:cubicBezTo>
                    <a:pt x="1144" y="5"/>
                    <a:pt x="1142" y="3"/>
                    <a:pt x="1141" y="0"/>
                  </a:cubicBezTo>
                  <a:lnTo>
                    <a:pt x="0" y="1142"/>
                  </a:lnTo>
                  <a:cubicBezTo>
                    <a:pt x="1" y="1146"/>
                    <a:pt x="2" y="1149"/>
                    <a:pt x="2" y="1152"/>
                  </a:cubicBezTo>
                  <a:lnTo>
                    <a:pt x="1145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303"/>
            <p:cNvSpPr>
              <a:spLocks/>
            </p:cNvSpPr>
            <p:nvPr/>
          </p:nvSpPr>
          <p:spPr bwMode="auto">
            <a:xfrm>
              <a:off x="3707" y="2528"/>
              <a:ext cx="860" cy="863"/>
            </a:xfrm>
            <a:custGeom>
              <a:avLst/>
              <a:gdLst>
                <a:gd name="T0" fmla="*/ 356 w 363"/>
                <a:gd name="T1" fmla="*/ 19 h 364"/>
                <a:gd name="T2" fmla="*/ 363 w 363"/>
                <a:gd name="T3" fmla="*/ 0 h 364"/>
                <a:gd name="T4" fmla="*/ 0 w 363"/>
                <a:gd name="T5" fmla="*/ 364 h 364"/>
                <a:gd name="T6" fmla="*/ 18 w 363"/>
                <a:gd name="T7" fmla="*/ 357 h 364"/>
                <a:gd name="T8" fmla="*/ 356 w 363"/>
                <a:gd name="T9" fmla="*/ 1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356" y="19"/>
                  </a:moveTo>
                  <a:cubicBezTo>
                    <a:pt x="358" y="13"/>
                    <a:pt x="361" y="6"/>
                    <a:pt x="363" y="0"/>
                  </a:cubicBezTo>
                  <a:lnTo>
                    <a:pt x="0" y="364"/>
                  </a:lnTo>
                  <a:cubicBezTo>
                    <a:pt x="6" y="362"/>
                    <a:pt x="12" y="359"/>
                    <a:pt x="18" y="357"/>
                  </a:cubicBezTo>
                  <a:lnTo>
                    <a:pt x="35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304"/>
            <p:cNvSpPr>
              <a:spLocks/>
            </p:cNvSpPr>
            <p:nvPr/>
          </p:nvSpPr>
          <p:spPr bwMode="auto">
            <a:xfrm>
              <a:off x="3927" y="2751"/>
              <a:ext cx="534" cy="531"/>
            </a:xfrm>
            <a:custGeom>
              <a:avLst/>
              <a:gdLst>
                <a:gd name="T0" fmla="*/ 205 w 225"/>
                <a:gd name="T1" fmla="*/ 31 h 224"/>
                <a:gd name="T2" fmla="*/ 225 w 225"/>
                <a:gd name="T3" fmla="*/ 0 h 224"/>
                <a:gd name="T4" fmla="*/ 0 w 225"/>
                <a:gd name="T5" fmla="*/ 224 h 224"/>
                <a:gd name="T6" fmla="*/ 31 w 225"/>
                <a:gd name="T7" fmla="*/ 205 h 224"/>
                <a:gd name="T8" fmla="*/ 205 w 225"/>
                <a:gd name="T9" fmla="*/ 3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4">
                  <a:moveTo>
                    <a:pt x="205" y="31"/>
                  </a:moveTo>
                  <a:cubicBezTo>
                    <a:pt x="212" y="21"/>
                    <a:pt x="218" y="10"/>
                    <a:pt x="225" y="0"/>
                  </a:cubicBezTo>
                  <a:lnTo>
                    <a:pt x="0" y="224"/>
                  </a:lnTo>
                  <a:cubicBezTo>
                    <a:pt x="11" y="218"/>
                    <a:pt x="21" y="212"/>
                    <a:pt x="31" y="205"/>
                  </a:cubicBezTo>
                  <a:lnTo>
                    <a:pt x="20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305"/>
            <p:cNvSpPr>
              <a:spLocks/>
            </p:cNvSpPr>
            <p:nvPr/>
          </p:nvSpPr>
          <p:spPr bwMode="auto">
            <a:xfrm>
              <a:off x="3537" y="2357"/>
              <a:ext cx="1087" cy="1089"/>
            </a:xfrm>
            <a:custGeom>
              <a:avLst/>
              <a:gdLst>
                <a:gd name="T0" fmla="*/ 454 w 459"/>
                <a:gd name="T1" fmla="*/ 16 h 459"/>
                <a:gd name="T2" fmla="*/ 459 w 459"/>
                <a:gd name="T3" fmla="*/ 0 h 459"/>
                <a:gd name="T4" fmla="*/ 0 w 459"/>
                <a:gd name="T5" fmla="*/ 459 h 459"/>
                <a:gd name="T6" fmla="*/ 16 w 459"/>
                <a:gd name="T7" fmla="*/ 455 h 459"/>
                <a:gd name="T8" fmla="*/ 454 w 459"/>
                <a:gd name="T9" fmla="*/ 1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9" h="459">
                  <a:moveTo>
                    <a:pt x="454" y="16"/>
                  </a:moveTo>
                  <a:cubicBezTo>
                    <a:pt x="456" y="11"/>
                    <a:pt x="457" y="5"/>
                    <a:pt x="459" y="0"/>
                  </a:cubicBezTo>
                  <a:lnTo>
                    <a:pt x="0" y="459"/>
                  </a:lnTo>
                  <a:cubicBezTo>
                    <a:pt x="6" y="458"/>
                    <a:pt x="11" y="456"/>
                    <a:pt x="16" y="455"/>
                  </a:cubicBezTo>
                  <a:lnTo>
                    <a:pt x="45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306"/>
            <p:cNvSpPr>
              <a:spLocks/>
            </p:cNvSpPr>
            <p:nvPr/>
          </p:nvSpPr>
          <p:spPr bwMode="auto">
            <a:xfrm>
              <a:off x="3392" y="2212"/>
              <a:ext cx="1263" cy="1264"/>
            </a:xfrm>
            <a:custGeom>
              <a:avLst/>
              <a:gdLst>
                <a:gd name="T0" fmla="*/ 530 w 533"/>
                <a:gd name="T1" fmla="*/ 14 h 533"/>
                <a:gd name="T2" fmla="*/ 533 w 533"/>
                <a:gd name="T3" fmla="*/ 0 h 533"/>
                <a:gd name="T4" fmla="*/ 0 w 533"/>
                <a:gd name="T5" fmla="*/ 533 h 533"/>
                <a:gd name="T6" fmla="*/ 14 w 533"/>
                <a:gd name="T7" fmla="*/ 531 h 533"/>
                <a:gd name="T8" fmla="*/ 530 w 533"/>
                <a:gd name="T9" fmla="*/ 14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533">
                  <a:moveTo>
                    <a:pt x="530" y="14"/>
                  </a:moveTo>
                  <a:cubicBezTo>
                    <a:pt x="531" y="9"/>
                    <a:pt x="532" y="5"/>
                    <a:pt x="533" y="0"/>
                  </a:cubicBezTo>
                  <a:lnTo>
                    <a:pt x="0" y="533"/>
                  </a:lnTo>
                  <a:cubicBezTo>
                    <a:pt x="5" y="533"/>
                    <a:pt x="9" y="532"/>
                    <a:pt x="14" y="531"/>
                  </a:cubicBezTo>
                  <a:lnTo>
                    <a:pt x="53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307"/>
            <p:cNvSpPr>
              <a:spLocks/>
            </p:cNvSpPr>
            <p:nvPr/>
          </p:nvSpPr>
          <p:spPr bwMode="auto">
            <a:xfrm>
              <a:off x="2932" y="3189"/>
              <a:ext cx="318" cy="295"/>
            </a:xfrm>
            <a:custGeom>
              <a:avLst/>
              <a:gdLst>
                <a:gd name="T0" fmla="*/ 134 w 134"/>
                <a:gd name="T1" fmla="*/ 0 h 124"/>
                <a:gd name="T2" fmla="*/ 118 w 134"/>
                <a:gd name="T3" fmla="*/ 5 h 124"/>
                <a:gd name="T4" fmla="*/ 0 w 134"/>
                <a:gd name="T5" fmla="*/ 123 h 124"/>
                <a:gd name="T6" fmla="*/ 10 w 134"/>
                <a:gd name="T7" fmla="*/ 124 h 124"/>
                <a:gd name="T8" fmla="*/ 134 w 13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24">
                  <a:moveTo>
                    <a:pt x="134" y="0"/>
                  </a:moveTo>
                  <a:cubicBezTo>
                    <a:pt x="129" y="2"/>
                    <a:pt x="123" y="4"/>
                    <a:pt x="118" y="5"/>
                  </a:cubicBezTo>
                  <a:lnTo>
                    <a:pt x="0" y="123"/>
                  </a:lnTo>
                  <a:cubicBezTo>
                    <a:pt x="3" y="124"/>
                    <a:pt x="7" y="124"/>
                    <a:pt x="10" y="124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308"/>
            <p:cNvSpPr>
              <a:spLocks/>
            </p:cNvSpPr>
            <p:nvPr/>
          </p:nvSpPr>
          <p:spPr bwMode="auto">
            <a:xfrm>
              <a:off x="3034" y="3085"/>
              <a:ext cx="434" cy="410"/>
            </a:xfrm>
            <a:custGeom>
              <a:avLst/>
              <a:gdLst>
                <a:gd name="T0" fmla="*/ 183 w 183"/>
                <a:gd name="T1" fmla="*/ 0 h 173"/>
                <a:gd name="T2" fmla="*/ 156 w 183"/>
                <a:gd name="T3" fmla="*/ 16 h 173"/>
                <a:gd name="T4" fmla="*/ 0 w 183"/>
                <a:gd name="T5" fmla="*/ 172 h 173"/>
                <a:gd name="T6" fmla="*/ 11 w 183"/>
                <a:gd name="T7" fmla="*/ 173 h 173"/>
                <a:gd name="T8" fmla="*/ 183 w 18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73">
                  <a:moveTo>
                    <a:pt x="183" y="0"/>
                  </a:moveTo>
                  <a:cubicBezTo>
                    <a:pt x="174" y="6"/>
                    <a:pt x="165" y="11"/>
                    <a:pt x="156" y="16"/>
                  </a:cubicBezTo>
                  <a:lnTo>
                    <a:pt x="0" y="172"/>
                  </a:lnTo>
                  <a:cubicBezTo>
                    <a:pt x="4" y="172"/>
                    <a:pt x="7" y="172"/>
                    <a:pt x="11" y="173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309"/>
            <p:cNvSpPr>
              <a:spLocks/>
            </p:cNvSpPr>
            <p:nvPr/>
          </p:nvSpPr>
          <p:spPr bwMode="auto">
            <a:xfrm>
              <a:off x="3264" y="2084"/>
              <a:ext cx="1405" cy="1409"/>
            </a:xfrm>
            <a:custGeom>
              <a:avLst/>
              <a:gdLst>
                <a:gd name="T0" fmla="*/ 592 w 593"/>
                <a:gd name="T1" fmla="*/ 12 h 594"/>
                <a:gd name="T2" fmla="*/ 593 w 593"/>
                <a:gd name="T3" fmla="*/ 0 h 594"/>
                <a:gd name="T4" fmla="*/ 0 w 593"/>
                <a:gd name="T5" fmla="*/ 594 h 594"/>
                <a:gd name="T6" fmla="*/ 12 w 593"/>
                <a:gd name="T7" fmla="*/ 593 h 594"/>
                <a:gd name="T8" fmla="*/ 592 w 593"/>
                <a:gd name="T9" fmla="*/ 12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594">
                  <a:moveTo>
                    <a:pt x="592" y="12"/>
                  </a:moveTo>
                  <a:cubicBezTo>
                    <a:pt x="592" y="8"/>
                    <a:pt x="592" y="4"/>
                    <a:pt x="593" y="0"/>
                  </a:cubicBezTo>
                  <a:lnTo>
                    <a:pt x="0" y="594"/>
                  </a:lnTo>
                  <a:cubicBezTo>
                    <a:pt x="4" y="593"/>
                    <a:pt x="8" y="593"/>
                    <a:pt x="12" y="593"/>
                  </a:cubicBezTo>
                  <a:lnTo>
                    <a:pt x="5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310"/>
            <p:cNvSpPr>
              <a:spLocks/>
            </p:cNvSpPr>
            <p:nvPr/>
          </p:nvSpPr>
          <p:spPr bwMode="auto">
            <a:xfrm>
              <a:off x="2421" y="3187"/>
              <a:ext cx="142" cy="133"/>
            </a:xfrm>
            <a:custGeom>
              <a:avLst/>
              <a:gdLst>
                <a:gd name="T0" fmla="*/ 60 w 60"/>
                <a:gd name="T1" fmla="*/ 3 h 56"/>
                <a:gd name="T2" fmla="*/ 52 w 60"/>
                <a:gd name="T3" fmla="*/ 0 h 56"/>
                <a:gd name="T4" fmla="*/ 0 w 60"/>
                <a:gd name="T5" fmla="*/ 52 h 56"/>
                <a:gd name="T6" fmla="*/ 7 w 60"/>
                <a:gd name="T7" fmla="*/ 56 h 56"/>
                <a:gd name="T8" fmla="*/ 60 w 60"/>
                <a:gd name="T9" fmla="*/ 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6">
                  <a:moveTo>
                    <a:pt x="60" y="3"/>
                  </a:moveTo>
                  <a:cubicBezTo>
                    <a:pt x="57" y="2"/>
                    <a:pt x="54" y="1"/>
                    <a:pt x="52" y="0"/>
                  </a:cubicBezTo>
                  <a:lnTo>
                    <a:pt x="0" y="52"/>
                  </a:lnTo>
                  <a:cubicBezTo>
                    <a:pt x="2" y="53"/>
                    <a:pt x="5" y="55"/>
                    <a:pt x="7" y="56"/>
                  </a:cubicBez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311"/>
            <p:cNvSpPr>
              <a:spLocks/>
            </p:cNvSpPr>
            <p:nvPr/>
          </p:nvSpPr>
          <p:spPr bwMode="auto">
            <a:xfrm>
              <a:off x="3809" y="1857"/>
              <a:ext cx="860" cy="887"/>
            </a:xfrm>
            <a:custGeom>
              <a:avLst/>
              <a:gdLst>
                <a:gd name="T0" fmla="*/ 363 w 363"/>
                <a:gd name="T1" fmla="*/ 10 h 374"/>
                <a:gd name="T2" fmla="*/ 363 w 363"/>
                <a:gd name="T3" fmla="*/ 0 h 374"/>
                <a:gd name="T4" fmla="*/ 16 w 363"/>
                <a:gd name="T5" fmla="*/ 347 h 374"/>
                <a:gd name="T6" fmla="*/ 0 w 363"/>
                <a:gd name="T7" fmla="*/ 374 h 374"/>
                <a:gd name="T8" fmla="*/ 363 w 363"/>
                <a:gd name="T9" fmla="*/ 1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74">
                  <a:moveTo>
                    <a:pt x="363" y="10"/>
                  </a:moveTo>
                  <a:cubicBezTo>
                    <a:pt x="363" y="7"/>
                    <a:pt x="363" y="3"/>
                    <a:pt x="363" y="0"/>
                  </a:cubicBezTo>
                  <a:lnTo>
                    <a:pt x="16" y="347"/>
                  </a:lnTo>
                  <a:cubicBezTo>
                    <a:pt x="11" y="356"/>
                    <a:pt x="5" y="366"/>
                    <a:pt x="0" y="374"/>
                  </a:cubicBezTo>
                  <a:lnTo>
                    <a:pt x="36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12"/>
            <p:cNvSpPr>
              <a:spLocks/>
            </p:cNvSpPr>
            <p:nvPr/>
          </p:nvSpPr>
          <p:spPr bwMode="auto">
            <a:xfrm>
              <a:off x="2215" y="3073"/>
              <a:ext cx="116" cy="114"/>
            </a:xfrm>
            <a:custGeom>
              <a:avLst/>
              <a:gdLst>
                <a:gd name="T0" fmla="*/ 49 w 49"/>
                <a:gd name="T1" fmla="*/ 4 h 48"/>
                <a:gd name="T2" fmla="*/ 42 w 49"/>
                <a:gd name="T3" fmla="*/ 0 h 48"/>
                <a:gd name="T4" fmla="*/ 0 w 49"/>
                <a:gd name="T5" fmla="*/ 43 h 48"/>
                <a:gd name="T6" fmla="*/ 6 w 49"/>
                <a:gd name="T7" fmla="*/ 48 h 48"/>
                <a:gd name="T8" fmla="*/ 49 w 49"/>
                <a:gd name="T9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9" y="4"/>
                  </a:moveTo>
                  <a:cubicBezTo>
                    <a:pt x="47" y="3"/>
                    <a:pt x="45" y="1"/>
                    <a:pt x="42" y="0"/>
                  </a:cubicBezTo>
                  <a:lnTo>
                    <a:pt x="0" y="43"/>
                  </a:lnTo>
                  <a:cubicBezTo>
                    <a:pt x="2" y="44"/>
                    <a:pt x="4" y="46"/>
                    <a:pt x="6" y="48"/>
                  </a:cubicBezTo>
                  <a:lnTo>
                    <a:pt x="4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13"/>
            <p:cNvSpPr>
              <a:spLocks/>
            </p:cNvSpPr>
            <p:nvPr/>
          </p:nvSpPr>
          <p:spPr bwMode="auto">
            <a:xfrm>
              <a:off x="3970" y="1565"/>
              <a:ext cx="652" cy="676"/>
            </a:xfrm>
            <a:custGeom>
              <a:avLst/>
              <a:gdLst>
                <a:gd name="T0" fmla="*/ 0 w 275"/>
                <a:gd name="T1" fmla="*/ 273 h 285"/>
                <a:gd name="T2" fmla="*/ 0 w 275"/>
                <a:gd name="T3" fmla="*/ 285 h 285"/>
                <a:gd name="T4" fmla="*/ 275 w 275"/>
                <a:gd name="T5" fmla="*/ 9 h 285"/>
                <a:gd name="T6" fmla="*/ 273 w 275"/>
                <a:gd name="T7" fmla="*/ 0 h 285"/>
                <a:gd name="T8" fmla="*/ 0 w 275"/>
                <a:gd name="T9" fmla="*/ 27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85">
                  <a:moveTo>
                    <a:pt x="0" y="273"/>
                  </a:moveTo>
                  <a:cubicBezTo>
                    <a:pt x="0" y="277"/>
                    <a:pt x="0" y="281"/>
                    <a:pt x="0" y="285"/>
                  </a:cubicBezTo>
                  <a:lnTo>
                    <a:pt x="275" y="9"/>
                  </a:lnTo>
                  <a:cubicBezTo>
                    <a:pt x="275" y="6"/>
                    <a:pt x="274" y="3"/>
                    <a:pt x="273" y="0"/>
                  </a:cubicBezTo>
                  <a:lnTo>
                    <a:pt x="0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14"/>
            <p:cNvSpPr>
              <a:spLocks/>
            </p:cNvSpPr>
            <p:nvPr/>
          </p:nvSpPr>
          <p:spPr bwMode="auto">
            <a:xfrm>
              <a:off x="3968" y="1477"/>
              <a:ext cx="630" cy="648"/>
            </a:xfrm>
            <a:custGeom>
              <a:avLst/>
              <a:gdLst>
                <a:gd name="T0" fmla="*/ 0 w 266"/>
                <a:gd name="T1" fmla="*/ 263 h 273"/>
                <a:gd name="T2" fmla="*/ 1 w 266"/>
                <a:gd name="T3" fmla="*/ 273 h 273"/>
                <a:gd name="T4" fmla="*/ 266 w 266"/>
                <a:gd name="T5" fmla="*/ 8 h 273"/>
                <a:gd name="T6" fmla="*/ 263 w 266"/>
                <a:gd name="T7" fmla="*/ 0 h 273"/>
                <a:gd name="T8" fmla="*/ 0 w 266"/>
                <a:gd name="T9" fmla="*/ 26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273">
                  <a:moveTo>
                    <a:pt x="0" y="263"/>
                  </a:moveTo>
                  <a:cubicBezTo>
                    <a:pt x="0" y="266"/>
                    <a:pt x="1" y="270"/>
                    <a:pt x="1" y="273"/>
                  </a:cubicBezTo>
                  <a:lnTo>
                    <a:pt x="266" y="8"/>
                  </a:lnTo>
                  <a:cubicBezTo>
                    <a:pt x="265" y="6"/>
                    <a:pt x="264" y="3"/>
                    <a:pt x="263" y="0"/>
                  </a:cubicBezTo>
                  <a:lnTo>
                    <a:pt x="0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15"/>
            <p:cNvSpPr>
              <a:spLocks/>
            </p:cNvSpPr>
            <p:nvPr/>
          </p:nvSpPr>
          <p:spPr bwMode="auto">
            <a:xfrm>
              <a:off x="3954" y="1655"/>
              <a:ext cx="689" cy="716"/>
            </a:xfrm>
            <a:custGeom>
              <a:avLst/>
              <a:gdLst>
                <a:gd name="T0" fmla="*/ 0 w 291"/>
                <a:gd name="T1" fmla="*/ 302 h 302"/>
                <a:gd name="T2" fmla="*/ 291 w 291"/>
                <a:gd name="T3" fmla="*/ 10 h 302"/>
                <a:gd name="T4" fmla="*/ 290 w 291"/>
                <a:gd name="T5" fmla="*/ 5 h 302"/>
                <a:gd name="T6" fmla="*/ 289 w 291"/>
                <a:gd name="T7" fmla="*/ 0 h 302"/>
                <a:gd name="T8" fmla="*/ 2 w 291"/>
                <a:gd name="T9" fmla="*/ 288 h 302"/>
                <a:gd name="T10" fmla="*/ 0 w 291"/>
                <a:gd name="T11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302">
                  <a:moveTo>
                    <a:pt x="0" y="302"/>
                  </a:moveTo>
                  <a:lnTo>
                    <a:pt x="291" y="10"/>
                  </a:lnTo>
                  <a:cubicBezTo>
                    <a:pt x="291" y="8"/>
                    <a:pt x="291" y="7"/>
                    <a:pt x="290" y="5"/>
                  </a:cubicBezTo>
                  <a:cubicBezTo>
                    <a:pt x="290" y="3"/>
                    <a:pt x="290" y="2"/>
                    <a:pt x="289" y="0"/>
                  </a:cubicBezTo>
                  <a:lnTo>
                    <a:pt x="2" y="288"/>
                  </a:lnTo>
                  <a:cubicBezTo>
                    <a:pt x="2" y="293"/>
                    <a:pt x="1" y="297"/>
                    <a:pt x="0" y="3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16"/>
            <p:cNvSpPr>
              <a:spLocks/>
            </p:cNvSpPr>
            <p:nvPr/>
          </p:nvSpPr>
          <p:spPr bwMode="auto">
            <a:xfrm>
              <a:off x="1824" y="619"/>
              <a:ext cx="2715" cy="2736"/>
            </a:xfrm>
            <a:custGeom>
              <a:avLst/>
              <a:gdLst>
                <a:gd name="T0" fmla="*/ 1146 w 1146"/>
                <a:gd name="T1" fmla="*/ 9 h 1154"/>
                <a:gd name="T2" fmla="*/ 1144 w 1146"/>
                <a:gd name="T3" fmla="*/ 0 h 1154"/>
                <a:gd name="T4" fmla="*/ 0 w 1146"/>
                <a:gd name="T5" fmla="*/ 1146 h 1154"/>
                <a:gd name="T6" fmla="*/ 4 w 1146"/>
                <a:gd name="T7" fmla="*/ 1154 h 1154"/>
                <a:gd name="T8" fmla="*/ 1146 w 1146"/>
                <a:gd name="T9" fmla="*/ 9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1154">
                  <a:moveTo>
                    <a:pt x="1146" y="9"/>
                  </a:moveTo>
                  <a:cubicBezTo>
                    <a:pt x="1146" y="6"/>
                    <a:pt x="1145" y="3"/>
                    <a:pt x="1144" y="0"/>
                  </a:cubicBezTo>
                  <a:lnTo>
                    <a:pt x="0" y="1146"/>
                  </a:lnTo>
                  <a:cubicBezTo>
                    <a:pt x="1" y="1149"/>
                    <a:pt x="2" y="1151"/>
                    <a:pt x="4" y="1154"/>
                  </a:cubicBezTo>
                  <a:lnTo>
                    <a:pt x="114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17"/>
            <p:cNvSpPr>
              <a:spLocks/>
            </p:cNvSpPr>
            <p:nvPr/>
          </p:nvSpPr>
          <p:spPr bwMode="auto">
            <a:xfrm>
              <a:off x="1873" y="721"/>
              <a:ext cx="2673" cy="2689"/>
            </a:xfrm>
            <a:custGeom>
              <a:avLst/>
              <a:gdLst>
                <a:gd name="T0" fmla="*/ 1128 w 1128"/>
                <a:gd name="T1" fmla="*/ 12 h 1134"/>
                <a:gd name="T2" fmla="*/ 1128 w 1128"/>
                <a:gd name="T3" fmla="*/ 0 h 1134"/>
                <a:gd name="T4" fmla="*/ 0 w 1128"/>
                <a:gd name="T5" fmla="*/ 1130 h 1134"/>
                <a:gd name="T6" fmla="*/ 7 w 1128"/>
                <a:gd name="T7" fmla="*/ 1134 h 1134"/>
                <a:gd name="T8" fmla="*/ 1128 w 1128"/>
                <a:gd name="T9" fmla="*/ 1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8" h="1134">
                  <a:moveTo>
                    <a:pt x="1128" y="12"/>
                  </a:moveTo>
                  <a:cubicBezTo>
                    <a:pt x="1128" y="8"/>
                    <a:pt x="1128" y="4"/>
                    <a:pt x="1128" y="0"/>
                  </a:cubicBezTo>
                  <a:lnTo>
                    <a:pt x="0" y="1130"/>
                  </a:lnTo>
                  <a:cubicBezTo>
                    <a:pt x="2" y="1132"/>
                    <a:pt x="5" y="1133"/>
                    <a:pt x="7" y="1134"/>
                  </a:cubicBezTo>
                  <a:lnTo>
                    <a:pt x="112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18"/>
            <p:cNvSpPr>
              <a:spLocks/>
            </p:cNvSpPr>
            <p:nvPr/>
          </p:nvSpPr>
          <p:spPr bwMode="auto">
            <a:xfrm>
              <a:off x="3913" y="1752"/>
              <a:ext cx="747" cy="773"/>
            </a:xfrm>
            <a:custGeom>
              <a:avLst/>
              <a:gdLst>
                <a:gd name="T0" fmla="*/ 5 w 315"/>
                <a:gd name="T1" fmla="*/ 309 h 326"/>
                <a:gd name="T2" fmla="*/ 0 w 315"/>
                <a:gd name="T3" fmla="*/ 326 h 326"/>
                <a:gd name="T4" fmla="*/ 315 w 315"/>
                <a:gd name="T5" fmla="*/ 10 h 326"/>
                <a:gd name="T6" fmla="*/ 314 w 315"/>
                <a:gd name="T7" fmla="*/ 0 h 326"/>
                <a:gd name="T8" fmla="*/ 5 w 315"/>
                <a:gd name="T9" fmla="*/ 30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" h="326">
                  <a:moveTo>
                    <a:pt x="5" y="309"/>
                  </a:moveTo>
                  <a:cubicBezTo>
                    <a:pt x="4" y="315"/>
                    <a:pt x="2" y="320"/>
                    <a:pt x="0" y="326"/>
                  </a:cubicBezTo>
                  <a:lnTo>
                    <a:pt x="315" y="10"/>
                  </a:lnTo>
                  <a:cubicBezTo>
                    <a:pt x="315" y="7"/>
                    <a:pt x="314" y="4"/>
                    <a:pt x="314" y="0"/>
                  </a:cubicBezTo>
                  <a:lnTo>
                    <a:pt x="5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19"/>
            <p:cNvSpPr>
              <a:spLocks/>
            </p:cNvSpPr>
            <p:nvPr/>
          </p:nvSpPr>
          <p:spPr bwMode="auto">
            <a:xfrm>
              <a:off x="3956" y="1394"/>
              <a:ext cx="611" cy="629"/>
            </a:xfrm>
            <a:custGeom>
              <a:avLst/>
              <a:gdLst>
                <a:gd name="T0" fmla="*/ 0 w 258"/>
                <a:gd name="T1" fmla="*/ 255 h 265"/>
                <a:gd name="T2" fmla="*/ 2 w 258"/>
                <a:gd name="T3" fmla="*/ 265 h 265"/>
                <a:gd name="T4" fmla="*/ 258 w 258"/>
                <a:gd name="T5" fmla="*/ 8 h 265"/>
                <a:gd name="T6" fmla="*/ 255 w 258"/>
                <a:gd name="T7" fmla="*/ 0 h 265"/>
                <a:gd name="T8" fmla="*/ 0 w 258"/>
                <a:gd name="T9" fmla="*/ 25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265">
                  <a:moveTo>
                    <a:pt x="0" y="255"/>
                  </a:moveTo>
                  <a:cubicBezTo>
                    <a:pt x="0" y="258"/>
                    <a:pt x="1" y="261"/>
                    <a:pt x="2" y="265"/>
                  </a:cubicBezTo>
                  <a:lnTo>
                    <a:pt x="258" y="8"/>
                  </a:lnTo>
                  <a:cubicBezTo>
                    <a:pt x="257" y="5"/>
                    <a:pt x="256" y="3"/>
                    <a:pt x="255" y="0"/>
                  </a:cubicBezTo>
                  <a:lnTo>
                    <a:pt x="0" y="2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20"/>
            <p:cNvSpPr>
              <a:spLocks/>
            </p:cNvSpPr>
            <p:nvPr/>
          </p:nvSpPr>
          <p:spPr bwMode="auto">
            <a:xfrm>
              <a:off x="3795" y="1034"/>
              <a:ext cx="566" cy="571"/>
            </a:xfrm>
            <a:custGeom>
              <a:avLst/>
              <a:gdLst>
                <a:gd name="T0" fmla="*/ 0 w 239"/>
                <a:gd name="T1" fmla="*/ 234 h 241"/>
                <a:gd name="T2" fmla="*/ 4 w 239"/>
                <a:gd name="T3" fmla="*/ 241 h 241"/>
                <a:gd name="T4" fmla="*/ 239 w 239"/>
                <a:gd name="T5" fmla="*/ 6 h 241"/>
                <a:gd name="T6" fmla="*/ 234 w 239"/>
                <a:gd name="T7" fmla="*/ 0 h 241"/>
                <a:gd name="T8" fmla="*/ 0 w 239"/>
                <a:gd name="T9" fmla="*/ 23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241">
                  <a:moveTo>
                    <a:pt x="0" y="234"/>
                  </a:moveTo>
                  <a:cubicBezTo>
                    <a:pt x="2" y="236"/>
                    <a:pt x="3" y="239"/>
                    <a:pt x="4" y="241"/>
                  </a:cubicBezTo>
                  <a:lnTo>
                    <a:pt x="239" y="6"/>
                  </a:lnTo>
                  <a:cubicBezTo>
                    <a:pt x="237" y="4"/>
                    <a:pt x="236" y="2"/>
                    <a:pt x="234" y="0"/>
                  </a:cubicBezTo>
                  <a:lnTo>
                    <a:pt x="0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21"/>
            <p:cNvSpPr>
              <a:spLocks/>
            </p:cNvSpPr>
            <p:nvPr/>
          </p:nvSpPr>
          <p:spPr bwMode="auto">
            <a:xfrm>
              <a:off x="3875" y="1167"/>
              <a:ext cx="578" cy="588"/>
            </a:xfrm>
            <a:custGeom>
              <a:avLst/>
              <a:gdLst>
                <a:gd name="T0" fmla="*/ 0 w 244"/>
                <a:gd name="T1" fmla="*/ 240 h 248"/>
                <a:gd name="T2" fmla="*/ 4 w 244"/>
                <a:gd name="T3" fmla="*/ 248 h 248"/>
                <a:gd name="T4" fmla="*/ 244 w 244"/>
                <a:gd name="T5" fmla="*/ 7 h 248"/>
                <a:gd name="T6" fmla="*/ 240 w 244"/>
                <a:gd name="T7" fmla="*/ 0 h 248"/>
                <a:gd name="T8" fmla="*/ 0 w 244"/>
                <a:gd name="T9" fmla="*/ 2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8">
                  <a:moveTo>
                    <a:pt x="0" y="240"/>
                  </a:moveTo>
                  <a:cubicBezTo>
                    <a:pt x="1" y="243"/>
                    <a:pt x="3" y="245"/>
                    <a:pt x="4" y="248"/>
                  </a:cubicBezTo>
                  <a:lnTo>
                    <a:pt x="244" y="7"/>
                  </a:lnTo>
                  <a:cubicBezTo>
                    <a:pt x="243" y="5"/>
                    <a:pt x="241" y="3"/>
                    <a:pt x="240" y="0"/>
                  </a:cubicBezTo>
                  <a:lnTo>
                    <a:pt x="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22"/>
            <p:cNvSpPr>
              <a:spLocks/>
            </p:cNvSpPr>
            <p:nvPr/>
          </p:nvSpPr>
          <p:spPr bwMode="auto">
            <a:xfrm>
              <a:off x="3837" y="1098"/>
              <a:ext cx="571" cy="578"/>
            </a:xfrm>
            <a:custGeom>
              <a:avLst/>
              <a:gdLst>
                <a:gd name="T0" fmla="*/ 0 w 241"/>
                <a:gd name="T1" fmla="*/ 237 h 244"/>
                <a:gd name="T2" fmla="*/ 4 w 241"/>
                <a:gd name="T3" fmla="*/ 244 h 244"/>
                <a:gd name="T4" fmla="*/ 241 w 241"/>
                <a:gd name="T5" fmla="*/ 7 h 244"/>
                <a:gd name="T6" fmla="*/ 237 w 241"/>
                <a:gd name="T7" fmla="*/ 0 h 244"/>
                <a:gd name="T8" fmla="*/ 0 w 241"/>
                <a:gd name="T9" fmla="*/ 23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4">
                  <a:moveTo>
                    <a:pt x="0" y="237"/>
                  </a:moveTo>
                  <a:cubicBezTo>
                    <a:pt x="2" y="239"/>
                    <a:pt x="3" y="242"/>
                    <a:pt x="4" y="244"/>
                  </a:cubicBezTo>
                  <a:lnTo>
                    <a:pt x="241" y="7"/>
                  </a:lnTo>
                  <a:cubicBezTo>
                    <a:pt x="240" y="5"/>
                    <a:pt x="238" y="3"/>
                    <a:pt x="237" y="0"/>
                  </a:cubicBezTo>
                  <a:lnTo>
                    <a:pt x="0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23"/>
            <p:cNvSpPr>
              <a:spLocks/>
            </p:cNvSpPr>
            <p:nvPr/>
          </p:nvSpPr>
          <p:spPr bwMode="auto">
            <a:xfrm>
              <a:off x="3935" y="1316"/>
              <a:ext cx="597" cy="609"/>
            </a:xfrm>
            <a:custGeom>
              <a:avLst/>
              <a:gdLst>
                <a:gd name="T0" fmla="*/ 0 w 252"/>
                <a:gd name="T1" fmla="*/ 248 h 257"/>
                <a:gd name="T2" fmla="*/ 3 w 252"/>
                <a:gd name="T3" fmla="*/ 257 h 257"/>
                <a:gd name="T4" fmla="*/ 252 w 252"/>
                <a:gd name="T5" fmla="*/ 7 h 257"/>
                <a:gd name="T6" fmla="*/ 249 w 252"/>
                <a:gd name="T7" fmla="*/ 0 h 257"/>
                <a:gd name="T8" fmla="*/ 0 w 252"/>
                <a:gd name="T9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257">
                  <a:moveTo>
                    <a:pt x="0" y="248"/>
                  </a:moveTo>
                  <a:cubicBezTo>
                    <a:pt x="1" y="251"/>
                    <a:pt x="2" y="254"/>
                    <a:pt x="3" y="257"/>
                  </a:cubicBezTo>
                  <a:lnTo>
                    <a:pt x="252" y="7"/>
                  </a:lnTo>
                  <a:cubicBezTo>
                    <a:pt x="251" y="5"/>
                    <a:pt x="250" y="2"/>
                    <a:pt x="249" y="0"/>
                  </a:cubicBezTo>
                  <a:lnTo>
                    <a:pt x="0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24"/>
            <p:cNvSpPr>
              <a:spLocks/>
            </p:cNvSpPr>
            <p:nvPr/>
          </p:nvSpPr>
          <p:spPr bwMode="auto">
            <a:xfrm>
              <a:off x="3909" y="1240"/>
              <a:ext cx="585" cy="598"/>
            </a:xfrm>
            <a:custGeom>
              <a:avLst/>
              <a:gdLst>
                <a:gd name="T0" fmla="*/ 0 w 247"/>
                <a:gd name="T1" fmla="*/ 243 h 252"/>
                <a:gd name="T2" fmla="*/ 3 w 247"/>
                <a:gd name="T3" fmla="*/ 252 h 252"/>
                <a:gd name="T4" fmla="*/ 247 w 247"/>
                <a:gd name="T5" fmla="*/ 7 h 252"/>
                <a:gd name="T6" fmla="*/ 243 w 247"/>
                <a:gd name="T7" fmla="*/ 0 h 252"/>
                <a:gd name="T8" fmla="*/ 0 w 247"/>
                <a:gd name="T9" fmla="*/ 24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52">
                  <a:moveTo>
                    <a:pt x="0" y="243"/>
                  </a:moveTo>
                  <a:cubicBezTo>
                    <a:pt x="1" y="246"/>
                    <a:pt x="2" y="249"/>
                    <a:pt x="3" y="252"/>
                  </a:cubicBezTo>
                  <a:lnTo>
                    <a:pt x="247" y="7"/>
                  </a:lnTo>
                  <a:cubicBezTo>
                    <a:pt x="246" y="5"/>
                    <a:pt x="245" y="2"/>
                    <a:pt x="243" y="0"/>
                  </a:cubicBezTo>
                  <a:lnTo>
                    <a:pt x="0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0" name="Grafikk 9">
            <a:extLst>
              <a:ext uri="{FF2B5EF4-FFF2-40B4-BE49-F238E27FC236}">
                <a16:creationId xmlns:a16="http://schemas.microsoft.com/office/drawing/2014/main" id="{6CAEA097-8E2E-6649-9431-F8FE21DF405D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0451429" y="6271064"/>
            <a:ext cx="1237527" cy="33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09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  <p:sldLayoutId id="2147483821" r:id="rId27"/>
    <p:sldLayoutId id="2147483822" r:id="rId28"/>
    <p:sldLayoutId id="2147483823" r:id="rId29"/>
    <p:sldLayoutId id="2147483824" r:id="rId30"/>
    <p:sldLayoutId id="2147483825" r:id="rId31"/>
    <p:sldLayoutId id="2147483826" r:id="rId32"/>
    <p:sldLayoutId id="2147483827" r:id="rId33"/>
    <p:sldLayoutId id="2147483828" r:id="rId34"/>
    <p:sldLayoutId id="2147483829" r:id="rId35"/>
    <p:sldLayoutId id="2147483830" r:id="rId36"/>
    <p:sldLayoutId id="2147483831" r:id="rId37"/>
    <p:sldLayoutId id="2147483832" r:id="rId38"/>
    <p:sldLayoutId id="2147483833" r:id="rId39"/>
    <p:sldLayoutId id="2147483834" r:id="rId40"/>
    <p:sldLayoutId id="2147483835" r:id="rId41"/>
    <p:sldLayoutId id="2147483836" r:id="rId42"/>
    <p:sldLayoutId id="2147483837" r:id="rId43"/>
    <p:sldLayoutId id="2147483838" r:id="rId44"/>
    <p:sldLayoutId id="2147483839" r:id="rId45"/>
    <p:sldLayoutId id="2147483840" r:id="rId46"/>
    <p:sldLayoutId id="2147483841" r:id="rId47"/>
    <p:sldLayoutId id="2147483842" r:id="rId48"/>
    <p:sldLayoutId id="2147483843" r:id="rId49"/>
    <p:sldLayoutId id="2147483845" r:id="rId50"/>
    <p:sldLayoutId id="2147483846" r:id="rId51"/>
    <p:sldLayoutId id="2147483847" r:id="rId52"/>
    <p:sldLayoutId id="2147483849" r:id="rId53"/>
    <p:sldLayoutId id="2147483914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338">
          <p15:clr>
            <a:srgbClr val="F26B43"/>
          </p15:clr>
        </p15:guide>
        <p15:guide id="3" pos="7331">
          <p15:clr>
            <a:srgbClr val="F26B43"/>
          </p15:clr>
        </p15:guide>
        <p15:guide id="5" orient="horz" pos="3748">
          <p15:clr>
            <a:srgbClr val="F26B43"/>
          </p15:clr>
        </p15:guide>
        <p15:guide id="6" orient="horz" pos="1082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4135">
          <p15:clr>
            <a:srgbClr val="F26B43"/>
          </p15:clr>
        </p15:guide>
        <p15:guide id="9" pos="4951">
          <p15:clr>
            <a:srgbClr val="F26B43"/>
          </p15:clr>
        </p15:guide>
        <p15:guide id="10" pos="4725">
          <p15:clr>
            <a:srgbClr val="F26B43"/>
          </p15:clr>
        </p15:guide>
        <p15:guide id="11" pos="3829">
          <p15:clr>
            <a:srgbClr val="F26B43"/>
          </p15:clr>
        </p15:guide>
        <p15:guide id="12" pos="3740">
          <p15:clr>
            <a:srgbClr val="F26B43"/>
          </p15:clr>
        </p15:guide>
        <p15:guide id="13" pos="391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6575" y="453412"/>
            <a:ext cx="11101388" cy="689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399" y="1717676"/>
            <a:ext cx="11104563" cy="4232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88444" y="6425654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chemeClr val="dk1"/>
                </a:solidFill>
              </a:defRPr>
            </a:lvl1pPr>
          </a:lstStyle>
          <a:p>
            <a:fld id="{9E47B28B-B525-7E4A-B6FB-5A6DAAAC0446}" type="datetime1">
              <a:rPr lang="nb-NO" smtClean="0"/>
              <a:t>26.10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374230" y="6425653"/>
            <a:ext cx="7560000" cy="189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33400" y="6430675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topplogo" hidden="1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4133" y="612097"/>
            <a:ext cx="1657799" cy="324000"/>
          </a:xfrm>
          <a:prstGeom prst="rect">
            <a:avLst/>
          </a:prstGeom>
        </p:spPr>
      </p:pic>
      <p:sp>
        <p:nvSpPr>
          <p:cNvPr id="9" name="Hellogo" hidden="1"/>
          <p:cNvSpPr>
            <a:spLocks noChangeAspect="1" noEditPoints="1"/>
          </p:cNvSpPr>
          <p:nvPr/>
        </p:nvSpPr>
        <p:spPr bwMode="auto">
          <a:xfrm>
            <a:off x="4656000" y="2056975"/>
            <a:ext cx="2880000" cy="2744050"/>
          </a:xfrm>
          <a:custGeom>
            <a:avLst/>
            <a:gdLst>
              <a:gd name="T0" fmla="*/ 319 w 337"/>
              <a:gd name="T1" fmla="*/ 129 h 321"/>
              <a:gd name="T2" fmla="*/ 289 w 337"/>
              <a:gd name="T3" fmla="*/ 64 h 321"/>
              <a:gd name="T4" fmla="*/ 305 w 337"/>
              <a:gd name="T5" fmla="*/ 48 h 321"/>
              <a:gd name="T6" fmla="*/ 308 w 337"/>
              <a:gd name="T7" fmla="*/ 21 h 321"/>
              <a:gd name="T8" fmla="*/ 292 w 337"/>
              <a:gd name="T9" fmla="*/ 13 h 321"/>
              <a:gd name="T10" fmla="*/ 265 w 337"/>
              <a:gd name="T11" fmla="*/ 40 h 321"/>
              <a:gd name="T12" fmla="*/ 137 w 337"/>
              <a:gd name="T13" fmla="*/ 9 h 321"/>
              <a:gd name="T14" fmla="*/ 17 w 337"/>
              <a:gd name="T15" fmla="*/ 191 h 321"/>
              <a:gd name="T16" fmla="*/ 48 w 337"/>
              <a:gd name="T17" fmla="*/ 257 h 321"/>
              <a:gd name="T18" fmla="*/ 36 w 337"/>
              <a:gd name="T19" fmla="*/ 269 h 321"/>
              <a:gd name="T20" fmla="*/ 33 w 337"/>
              <a:gd name="T21" fmla="*/ 296 h 321"/>
              <a:gd name="T22" fmla="*/ 49 w 337"/>
              <a:gd name="T23" fmla="*/ 304 h 321"/>
              <a:gd name="T24" fmla="*/ 72 w 337"/>
              <a:gd name="T25" fmla="*/ 281 h 321"/>
              <a:gd name="T26" fmla="*/ 199 w 337"/>
              <a:gd name="T27" fmla="*/ 311 h 321"/>
              <a:gd name="T28" fmla="*/ 319 w 337"/>
              <a:gd name="T29" fmla="*/ 129 h 321"/>
              <a:gd name="T30" fmla="*/ 87 w 337"/>
              <a:gd name="T31" fmla="*/ 161 h 321"/>
              <a:gd name="T32" fmla="*/ 172 w 337"/>
              <a:gd name="T33" fmla="*/ 33 h 321"/>
              <a:gd name="T34" fmla="*/ 255 w 337"/>
              <a:gd name="T35" fmla="*/ 50 h 321"/>
              <a:gd name="T36" fmla="*/ 104 w 337"/>
              <a:gd name="T37" fmla="*/ 201 h 321"/>
              <a:gd name="T38" fmla="*/ 87 w 337"/>
              <a:gd name="T39" fmla="*/ 161 h 321"/>
              <a:gd name="T40" fmla="*/ 165 w 337"/>
              <a:gd name="T41" fmla="*/ 287 h 321"/>
              <a:gd name="T42" fmla="*/ 82 w 337"/>
              <a:gd name="T43" fmla="*/ 271 h 321"/>
              <a:gd name="T44" fmla="*/ 233 w 337"/>
              <a:gd name="T45" fmla="*/ 120 h 321"/>
              <a:gd name="T46" fmla="*/ 249 w 337"/>
              <a:gd name="T47" fmla="*/ 159 h 321"/>
              <a:gd name="T48" fmla="*/ 165 w 337"/>
              <a:gd name="T49" fmla="*/ 28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7" h="321">
                <a:moveTo>
                  <a:pt x="319" y="129"/>
                </a:moveTo>
                <a:cubicBezTo>
                  <a:pt x="314" y="105"/>
                  <a:pt x="304" y="83"/>
                  <a:pt x="289" y="64"/>
                </a:cubicBezTo>
                <a:cubicBezTo>
                  <a:pt x="305" y="48"/>
                  <a:pt x="305" y="48"/>
                  <a:pt x="305" y="48"/>
                </a:cubicBezTo>
                <a:cubicBezTo>
                  <a:pt x="310" y="43"/>
                  <a:pt x="311" y="31"/>
                  <a:pt x="308" y="21"/>
                </a:cubicBezTo>
                <a:cubicBezTo>
                  <a:pt x="304" y="11"/>
                  <a:pt x="297" y="8"/>
                  <a:pt x="292" y="13"/>
                </a:cubicBezTo>
                <a:cubicBezTo>
                  <a:pt x="265" y="40"/>
                  <a:pt x="265" y="40"/>
                  <a:pt x="265" y="40"/>
                </a:cubicBezTo>
                <a:cubicBezTo>
                  <a:pt x="230" y="12"/>
                  <a:pt x="184" y="0"/>
                  <a:pt x="137" y="9"/>
                </a:cubicBezTo>
                <a:cubicBezTo>
                  <a:pt x="54" y="26"/>
                  <a:pt x="0" y="108"/>
                  <a:pt x="17" y="191"/>
                </a:cubicBezTo>
                <a:cubicBezTo>
                  <a:pt x="22" y="216"/>
                  <a:pt x="33" y="238"/>
                  <a:pt x="48" y="257"/>
                </a:cubicBezTo>
                <a:cubicBezTo>
                  <a:pt x="36" y="269"/>
                  <a:pt x="36" y="269"/>
                  <a:pt x="36" y="269"/>
                </a:cubicBezTo>
                <a:cubicBezTo>
                  <a:pt x="30" y="274"/>
                  <a:pt x="29" y="286"/>
                  <a:pt x="33" y="296"/>
                </a:cubicBezTo>
                <a:cubicBezTo>
                  <a:pt x="36" y="306"/>
                  <a:pt x="44" y="309"/>
                  <a:pt x="49" y="304"/>
                </a:cubicBezTo>
                <a:cubicBezTo>
                  <a:pt x="72" y="281"/>
                  <a:pt x="72" y="281"/>
                  <a:pt x="72" y="281"/>
                </a:cubicBezTo>
                <a:cubicBezTo>
                  <a:pt x="107" y="308"/>
                  <a:pt x="153" y="321"/>
                  <a:pt x="199" y="311"/>
                </a:cubicBezTo>
                <a:cubicBezTo>
                  <a:pt x="283" y="294"/>
                  <a:pt x="337" y="213"/>
                  <a:pt x="319" y="129"/>
                </a:cubicBezTo>
                <a:moveTo>
                  <a:pt x="87" y="161"/>
                </a:moveTo>
                <a:cubicBezTo>
                  <a:pt x="75" y="103"/>
                  <a:pt x="113" y="45"/>
                  <a:pt x="172" y="33"/>
                </a:cubicBezTo>
                <a:cubicBezTo>
                  <a:pt x="202" y="27"/>
                  <a:pt x="231" y="34"/>
                  <a:pt x="255" y="50"/>
                </a:cubicBezTo>
                <a:cubicBezTo>
                  <a:pt x="104" y="201"/>
                  <a:pt x="104" y="201"/>
                  <a:pt x="104" y="201"/>
                </a:cubicBezTo>
                <a:cubicBezTo>
                  <a:pt x="96" y="189"/>
                  <a:pt x="90" y="176"/>
                  <a:pt x="87" y="161"/>
                </a:cubicBezTo>
                <a:moveTo>
                  <a:pt x="165" y="287"/>
                </a:moveTo>
                <a:cubicBezTo>
                  <a:pt x="135" y="293"/>
                  <a:pt x="106" y="287"/>
                  <a:pt x="82" y="271"/>
                </a:cubicBezTo>
                <a:cubicBezTo>
                  <a:pt x="233" y="120"/>
                  <a:pt x="233" y="120"/>
                  <a:pt x="233" y="120"/>
                </a:cubicBezTo>
                <a:cubicBezTo>
                  <a:pt x="241" y="132"/>
                  <a:pt x="246" y="145"/>
                  <a:pt x="249" y="159"/>
                </a:cubicBezTo>
                <a:cubicBezTo>
                  <a:pt x="261" y="218"/>
                  <a:pt x="223" y="275"/>
                  <a:pt x="165" y="287"/>
                </a:cubicBezTo>
              </a:path>
            </a:pathLst>
          </a:custGeom>
          <a:solidFill>
            <a:srgbClr val="00AE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1" name="Kantlogo" hidden="1"/>
          <p:cNvSpPr>
            <a:spLocks noChangeAspect="1" noEditPoints="1"/>
          </p:cNvSpPr>
          <p:nvPr/>
        </p:nvSpPr>
        <p:spPr bwMode="auto">
          <a:xfrm>
            <a:off x="4656000" y="2054372"/>
            <a:ext cx="2880000" cy="2749256"/>
          </a:xfrm>
          <a:custGeom>
            <a:avLst/>
            <a:gdLst>
              <a:gd name="T0" fmla="*/ 315 w 332"/>
              <a:gd name="T1" fmla="*/ 128 h 317"/>
              <a:gd name="T2" fmla="*/ 285 w 332"/>
              <a:gd name="T3" fmla="*/ 64 h 317"/>
              <a:gd name="T4" fmla="*/ 301 w 332"/>
              <a:gd name="T5" fmla="*/ 48 h 317"/>
              <a:gd name="T6" fmla="*/ 304 w 332"/>
              <a:gd name="T7" fmla="*/ 21 h 317"/>
              <a:gd name="T8" fmla="*/ 288 w 332"/>
              <a:gd name="T9" fmla="*/ 13 h 317"/>
              <a:gd name="T10" fmla="*/ 261 w 332"/>
              <a:gd name="T11" fmla="*/ 40 h 317"/>
              <a:gd name="T12" fmla="*/ 135 w 332"/>
              <a:gd name="T13" fmla="*/ 10 h 317"/>
              <a:gd name="T14" fmla="*/ 17 w 332"/>
              <a:gd name="T15" fmla="*/ 189 h 317"/>
              <a:gd name="T16" fmla="*/ 47 w 332"/>
              <a:gd name="T17" fmla="*/ 254 h 317"/>
              <a:gd name="T18" fmla="*/ 35 w 332"/>
              <a:gd name="T19" fmla="*/ 266 h 317"/>
              <a:gd name="T20" fmla="*/ 32 w 332"/>
              <a:gd name="T21" fmla="*/ 293 h 317"/>
              <a:gd name="T22" fmla="*/ 48 w 332"/>
              <a:gd name="T23" fmla="*/ 301 h 317"/>
              <a:gd name="T24" fmla="*/ 71 w 332"/>
              <a:gd name="T25" fmla="*/ 278 h 317"/>
              <a:gd name="T26" fmla="*/ 196 w 332"/>
              <a:gd name="T27" fmla="*/ 308 h 317"/>
              <a:gd name="T28" fmla="*/ 315 w 332"/>
              <a:gd name="T29" fmla="*/ 128 h 317"/>
              <a:gd name="T30" fmla="*/ 86 w 332"/>
              <a:gd name="T31" fmla="*/ 160 h 317"/>
              <a:gd name="T32" fmla="*/ 169 w 332"/>
              <a:gd name="T33" fmla="*/ 33 h 317"/>
              <a:gd name="T34" fmla="*/ 251 w 332"/>
              <a:gd name="T35" fmla="*/ 50 h 317"/>
              <a:gd name="T36" fmla="*/ 102 w 332"/>
              <a:gd name="T37" fmla="*/ 199 h 317"/>
              <a:gd name="T38" fmla="*/ 86 w 332"/>
              <a:gd name="T39" fmla="*/ 160 h 317"/>
              <a:gd name="T40" fmla="*/ 162 w 332"/>
              <a:gd name="T41" fmla="*/ 284 h 317"/>
              <a:gd name="T42" fmla="*/ 81 w 332"/>
              <a:gd name="T43" fmla="*/ 268 h 317"/>
              <a:gd name="T44" fmla="*/ 230 w 332"/>
              <a:gd name="T45" fmla="*/ 119 h 317"/>
              <a:gd name="T46" fmla="*/ 246 w 332"/>
              <a:gd name="T47" fmla="*/ 158 h 317"/>
              <a:gd name="T48" fmla="*/ 162 w 332"/>
              <a:gd name="T49" fmla="*/ 284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32" h="317">
                <a:moveTo>
                  <a:pt x="315" y="128"/>
                </a:moveTo>
                <a:cubicBezTo>
                  <a:pt x="310" y="104"/>
                  <a:pt x="299" y="82"/>
                  <a:pt x="285" y="64"/>
                </a:cubicBezTo>
                <a:cubicBezTo>
                  <a:pt x="301" y="48"/>
                  <a:pt x="301" y="48"/>
                  <a:pt x="301" y="48"/>
                </a:cubicBezTo>
                <a:cubicBezTo>
                  <a:pt x="306" y="43"/>
                  <a:pt x="307" y="31"/>
                  <a:pt x="304" y="21"/>
                </a:cubicBezTo>
                <a:cubicBezTo>
                  <a:pt x="300" y="12"/>
                  <a:pt x="293" y="8"/>
                  <a:pt x="288" y="13"/>
                </a:cubicBezTo>
                <a:cubicBezTo>
                  <a:pt x="261" y="40"/>
                  <a:pt x="261" y="40"/>
                  <a:pt x="261" y="40"/>
                </a:cubicBezTo>
                <a:cubicBezTo>
                  <a:pt x="227" y="13"/>
                  <a:pt x="182" y="0"/>
                  <a:pt x="135" y="10"/>
                </a:cubicBezTo>
                <a:cubicBezTo>
                  <a:pt x="53" y="26"/>
                  <a:pt x="0" y="107"/>
                  <a:pt x="17" y="189"/>
                </a:cubicBezTo>
                <a:cubicBezTo>
                  <a:pt x="22" y="214"/>
                  <a:pt x="32" y="236"/>
                  <a:pt x="47" y="254"/>
                </a:cubicBezTo>
                <a:cubicBezTo>
                  <a:pt x="35" y="266"/>
                  <a:pt x="35" y="266"/>
                  <a:pt x="35" y="266"/>
                </a:cubicBezTo>
                <a:cubicBezTo>
                  <a:pt x="30" y="271"/>
                  <a:pt x="29" y="283"/>
                  <a:pt x="32" y="293"/>
                </a:cubicBezTo>
                <a:cubicBezTo>
                  <a:pt x="36" y="302"/>
                  <a:pt x="43" y="306"/>
                  <a:pt x="48" y="301"/>
                </a:cubicBezTo>
                <a:cubicBezTo>
                  <a:pt x="71" y="278"/>
                  <a:pt x="71" y="278"/>
                  <a:pt x="71" y="278"/>
                </a:cubicBezTo>
                <a:cubicBezTo>
                  <a:pt x="105" y="305"/>
                  <a:pt x="150" y="317"/>
                  <a:pt x="196" y="308"/>
                </a:cubicBezTo>
                <a:cubicBezTo>
                  <a:pt x="279" y="291"/>
                  <a:pt x="332" y="211"/>
                  <a:pt x="315" y="128"/>
                </a:cubicBezTo>
                <a:moveTo>
                  <a:pt x="86" y="160"/>
                </a:moveTo>
                <a:cubicBezTo>
                  <a:pt x="74" y="102"/>
                  <a:pt x="111" y="45"/>
                  <a:pt x="169" y="33"/>
                </a:cubicBezTo>
                <a:cubicBezTo>
                  <a:pt x="199" y="27"/>
                  <a:pt x="228" y="34"/>
                  <a:pt x="251" y="50"/>
                </a:cubicBezTo>
                <a:cubicBezTo>
                  <a:pt x="102" y="199"/>
                  <a:pt x="102" y="199"/>
                  <a:pt x="102" y="199"/>
                </a:cubicBezTo>
                <a:cubicBezTo>
                  <a:pt x="95" y="187"/>
                  <a:pt x="89" y="174"/>
                  <a:pt x="86" y="160"/>
                </a:cubicBezTo>
                <a:moveTo>
                  <a:pt x="162" y="284"/>
                </a:moveTo>
                <a:cubicBezTo>
                  <a:pt x="133" y="290"/>
                  <a:pt x="104" y="283"/>
                  <a:pt x="81" y="268"/>
                </a:cubicBezTo>
                <a:cubicBezTo>
                  <a:pt x="230" y="119"/>
                  <a:pt x="230" y="119"/>
                  <a:pt x="230" y="119"/>
                </a:cubicBezTo>
                <a:cubicBezTo>
                  <a:pt x="237" y="130"/>
                  <a:pt x="243" y="143"/>
                  <a:pt x="246" y="158"/>
                </a:cubicBezTo>
                <a:cubicBezTo>
                  <a:pt x="258" y="216"/>
                  <a:pt x="220" y="272"/>
                  <a:pt x="162" y="284"/>
                </a:cubicBezTo>
              </a:path>
            </a:pathLst>
          </a:custGeom>
          <a:noFill/>
          <a:ln w="1587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grpSp>
        <p:nvGrpSpPr>
          <p:cNvPr id="73" name="Skravertlogo" hidden="1"/>
          <p:cNvGrpSpPr>
            <a:grpSpLocks noChangeAspect="1"/>
          </p:cNvGrpSpPr>
          <p:nvPr/>
        </p:nvGrpSpPr>
        <p:grpSpPr bwMode="auto">
          <a:xfrm>
            <a:off x="4656000" y="1987582"/>
            <a:ext cx="2880000" cy="2882836"/>
            <a:chOff x="1627" y="448"/>
            <a:chExt cx="3047" cy="3050"/>
          </a:xfrm>
          <a:solidFill>
            <a:schemeClr val="accent1"/>
          </a:solidFill>
        </p:grpSpPr>
        <p:sp>
          <p:nvSpPr>
            <p:cNvPr id="74" name="Freeform 265"/>
            <p:cNvSpPr>
              <a:spLocks/>
            </p:cNvSpPr>
            <p:nvPr/>
          </p:nvSpPr>
          <p:spPr bwMode="auto">
            <a:xfrm>
              <a:off x="1629" y="1145"/>
              <a:ext cx="898" cy="927"/>
            </a:xfrm>
            <a:custGeom>
              <a:avLst/>
              <a:gdLst>
                <a:gd name="T0" fmla="*/ 358 w 379"/>
                <a:gd name="T1" fmla="*/ 33 h 391"/>
                <a:gd name="T2" fmla="*/ 379 w 379"/>
                <a:gd name="T3" fmla="*/ 0 h 391"/>
                <a:gd name="T4" fmla="*/ 0 w 379"/>
                <a:gd name="T5" fmla="*/ 380 h 391"/>
                <a:gd name="T6" fmla="*/ 1 w 379"/>
                <a:gd name="T7" fmla="*/ 391 h 391"/>
                <a:gd name="T8" fmla="*/ 358 w 379"/>
                <a:gd name="T9" fmla="*/ 3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391">
                  <a:moveTo>
                    <a:pt x="358" y="33"/>
                  </a:moveTo>
                  <a:cubicBezTo>
                    <a:pt x="364" y="22"/>
                    <a:pt x="372" y="11"/>
                    <a:pt x="379" y="0"/>
                  </a:cubicBezTo>
                  <a:lnTo>
                    <a:pt x="0" y="380"/>
                  </a:lnTo>
                  <a:cubicBezTo>
                    <a:pt x="0" y="384"/>
                    <a:pt x="0" y="387"/>
                    <a:pt x="1" y="391"/>
                  </a:cubicBezTo>
                  <a:lnTo>
                    <a:pt x="35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66"/>
            <p:cNvSpPr>
              <a:spLocks/>
            </p:cNvSpPr>
            <p:nvPr/>
          </p:nvSpPr>
          <p:spPr bwMode="auto">
            <a:xfrm>
              <a:off x="1674" y="1684"/>
              <a:ext cx="659" cy="683"/>
            </a:xfrm>
            <a:custGeom>
              <a:avLst/>
              <a:gdLst>
                <a:gd name="T0" fmla="*/ 277 w 278"/>
                <a:gd name="T1" fmla="*/ 13 h 288"/>
                <a:gd name="T2" fmla="*/ 278 w 278"/>
                <a:gd name="T3" fmla="*/ 0 h 288"/>
                <a:gd name="T4" fmla="*/ 0 w 278"/>
                <a:gd name="T5" fmla="*/ 279 h 288"/>
                <a:gd name="T6" fmla="*/ 2 w 278"/>
                <a:gd name="T7" fmla="*/ 288 h 288"/>
                <a:gd name="T8" fmla="*/ 277 w 278"/>
                <a:gd name="T9" fmla="*/ 1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88">
                  <a:moveTo>
                    <a:pt x="277" y="13"/>
                  </a:moveTo>
                  <a:cubicBezTo>
                    <a:pt x="277" y="9"/>
                    <a:pt x="277" y="5"/>
                    <a:pt x="278" y="0"/>
                  </a:cubicBezTo>
                  <a:lnTo>
                    <a:pt x="0" y="279"/>
                  </a:lnTo>
                  <a:cubicBezTo>
                    <a:pt x="0" y="282"/>
                    <a:pt x="1" y="285"/>
                    <a:pt x="2" y="288"/>
                  </a:cubicBezTo>
                  <a:lnTo>
                    <a:pt x="27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67"/>
            <p:cNvSpPr>
              <a:spLocks/>
            </p:cNvSpPr>
            <p:nvPr/>
          </p:nvSpPr>
          <p:spPr bwMode="auto">
            <a:xfrm>
              <a:off x="1653" y="1553"/>
              <a:ext cx="697" cy="721"/>
            </a:xfrm>
            <a:custGeom>
              <a:avLst/>
              <a:gdLst>
                <a:gd name="T0" fmla="*/ 292 w 294"/>
                <a:gd name="T1" fmla="*/ 13 h 304"/>
                <a:gd name="T2" fmla="*/ 294 w 294"/>
                <a:gd name="T3" fmla="*/ 0 h 304"/>
                <a:gd name="T4" fmla="*/ 0 w 294"/>
                <a:gd name="T5" fmla="*/ 294 h 304"/>
                <a:gd name="T6" fmla="*/ 2 w 294"/>
                <a:gd name="T7" fmla="*/ 304 h 304"/>
                <a:gd name="T8" fmla="*/ 292 w 294"/>
                <a:gd name="T9" fmla="*/ 1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304">
                  <a:moveTo>
                    <a:pt x="292" y="13"/>
                  </a:moveTo>
                  <a:cubicBezTo>
                    <a:pt x="293" y="9"/>
                    <a:pt x="293" y="4"/>
                    <a:pt x="294" y="0"/>
                  </a:cubicBezTo>
                  <a:lnTo>
                    <a:pt x="0" y="294"/>
                  </a:lnTo>
                  <a:cubicBezTo>
                    <a:pt x="1" y="297"/>
                    <a:pt x="1" y="301"/>
                    <a:pt x="2" y="304"/>
                  </a:cubicBezTo>
                  <a:lnTo>
                    <a:pt x="29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68"/>
            <p:cNvSpPr>
              <a:spLocks/>
            </p:cNvSpPr>
            <p:nvPr/>
          </p:nvSpPr>
          <p:spPr bwMode="auto">
            <a:xfrm>
              <a:off x="1639" y="1392"/>
              <a:ext cx="758" cy="785"/>
            </a:xfrm>
            <a:custGeom>
              <a:avLst/>
              <a:gdLst>
                <a:gd name="T0" fmla="*/ 314 w 320"/>
                <a:gd name="T1" fmla="*/ 17 h 331"/>
                <a:gd name="T2" fmla="*/ 320 w 320"/>
                <a:gd name="T3" fmla="*/ 0 h 331"/>
                <a:gd name="T4" fmla="*/ 0 w 320"/>
                <a:gd name="T5" fmla="*/ 321 h 331"/>
                <a:gd name="T6" fmla="*/ 1 w 320"/>
                <a:gd name="T7" fmla="*/ 331 h 331"/>
                <a:gd name="T8" fmla="*/ 314 w 320"/>
                <a:gd name="T9" fmla="*/ 1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331">
                  <a:moveTo>
                    <a:pt x="314" y="17"/>
                  </a:moveTo>
                  <a:cubicBezTo>
                    <a:pt x="316" y="11"/>
                    <a:pt x="318" y="5"/>
                    <a:pt x="320" y="0"/>
                  </a:cubicBezTo>
                  <a:lnTo>
                    <a:pt x="0" y="321"/>
                  </a:lnTo>
                  <a:cubicBezTo>
                    <a:pt x="0" y="324"/>
                    <a:pt x="0" y="327"/>
                    <a:pt x="1" y="331"/>
                  </a:cubicBezTo>
                  <a:lnTo>
                    <a:pt x="31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69"/>
            <p:cNvSpPr>
              <a:spLocks/>
            </p:cNvSpPr>
            <p:nvPr/>
          </p:nvSpPr>
          <p:spPr bwMode="auto">
            <a:xfrm>
              <a:off x="1793" y="493"/>
              <a:ext cx="2658" cy="2673"/>
            </a:xfrm>
            <a:custGeom>
              <a:avLst/>
              <a:gdLst>
                <a:gd name="T0" fmla="*/ 1122 w 1122"/>
                <a:gd name="T1" fmla="*/ 3 h 1127"/>
                <a:gd name="T2" fmla="*/ 1114 w 1122"/>
                <a:gd name="T3" fmla="*/ 0 h 1127"/>
                <a:gd name="T4" fmla="*/ 3 w 1122"/>
                <a:gd name="T5" fmla="*/ 1113 h 1127"/>
                <a:gd name="T6" fmla="*/ 0 w 1122"/>
                <a:gd name="T7" fmla="*/ 1127 h 1127"/>
                <a:gd name="T8" fmla="*/ 1122 w 1122"/>
                <a:gd name="T9" fmla="*/ 3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1127">
                  <a:moveTo>
                    <a:pt x="1122" y="3"/>
                  </a:moveTo>
                  <a:cubicBezTo>
                    <a:pt x="1119" y="2"/>
                    <a:pt x="1117" y="1"/>
                    <a:pt x="1114" y="0"/>
                  </a:cubicBezTo>
                  <a:lnTo>
                    <a:pt x="3" y="1113"/>
                  </a:lnTo>
                  <a:cubicBezTo>
                    <a:pt x="2" y="1118"/>
                    <a:pt x="1" y="1122"/>
                    <a:pt x="0" y="1127"/>
                  </a:cubicBezTo>
                  <a:lnTo>
                    <a:pt x="11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70"/>
            <p:cNvSpPr>
              <a:spLocks/>
            </p:cNvSpPr>
            <p:nvPr/>
          </p:nvSpPr>
          <p:spPr bwMode="auto">
            <a:xfrm>
              <a:off x="2776" y="450"/>
              <a:ext cx="472" cy="446"/>
            </a:xfrm>
            <a:custGeom>
              <a:avLst/>
              <a:gdLst>
                <a:gd name="T0" fmla="*/ 0 w 199"/>
                <a:gd name="T1" fmla="*/ 188 h 188"/>
                <a:gd name="T2" fmla="*/ 33 w 199"/>
                <a:gd name="T3" fmla="*/ 167 h 188"/>
                <a:gd name="T4" fmla="*/ 199 w 199"/>
                <a:gd name="T5" fmla="*/ 0 h 188"/>
                <a:gd name="T6" fmla="*/ 188 w 199"/>
                <a:gd name="T7" fmla="*/ 0 h 188"/>
                <a:gd name="T8" fmla="*/ 0 w 199"/>
                <a:gd name="T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88">
                  <a:moveTo>
                    <a:pt x="0" y="188"/>
                  </a:moveTo>
                  <a:cubicBezTo>
                    <a:pt x="11" y="180"/>
                    <a:pt x="22" y="173"/>
                    <a:pt x="33" y="167"/>
                  </a:cubicBezTo>
                  <a:lnTo>
                    <a:pt x="199" y="0"/>
                  </a:lnTo>
                  <a:cubicBezTo>
                    <a:pt x="195" y="0"/>
                    <a:pt x="192" y="0"/>
                    <a:pt x="188" y="0"/>
                  </a:cubicBezTo>
                  <a:lnTo>
                    <a:pt x="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71"/>
            <p:cNvSpPr>
              <a:spLocks/>
            </p:cNvSpPr>
            <p:nvPr/>
          </p:nvSpPr>
          <p:spPr bwMode="auto">
            <a:xfrm>
              <a:off x="3181" y="474"/>
              <a:ext cx="268" cy="244"/>
            </a:xfrm>
            <a:custGeom>
              <a:avLst/>
              <a:gdLst>
                <a:gd name="T0" fmla="*/ 0 w 113"/>
                <a:gd name="T1" fmla="*/ 103 h 103"/>
                <a:gd name="T2" fmla="*/ 1 w 113"/>
                <a:gd name="T3" fmla="*/ 103 h 103"/>
                <a:gd name="T4" fmla="*/ 14 w 113"/>
                <a:gd name="T5" fmla="*/ 101 h 103"/>
                <a:gd name="T6" fmla="*/ 113 w 113"/>
                <a:gd name="T7" fmla="*/ 1 h 103"/>
                <a:gd name="T8" fmla="*/ 104 w 113"/>
                <a:gd name="T9" fmla="*/ 0 h 103"/>
                <a:gd name="T10" fmla="*/ 0 w 113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103">
                  <a:moveTo>
                    <a:pt x="0" y="103"/>
                  </a:moveTo>
                  <a:cubicBezTo>
                    <a:pt x="1" y="103"/>
                    <a:pt x="1" y="103"/>
                    <a:pt x="1" y="103"/>
                  </a:cubicBezTo>
                  <a:cubicBezTo>
                    <a:pt x="5" y="102"/>
                    <a:pt x="10" y="101"/>
                    <a:pt x="14" y="101"/>
                  </a:cubicBezTo>
                  <a:lnTo>
                    <a:pt x="113" y="1"/>
                  </a:lnTo>
                  <a:cubicBezTo>
                    <a:pt x="110" y="1"/>
                    <a:pt x="107" y="0"/>
                    <a:pt x="104" y="0"/>
                  </a:cubicBezTo>
                  <a:lnTo>
                    <a:pt x="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72"/>
            <p:cNvSpPr>
              <a:spLocks/>
            </p:cNvSpPr>
            <p:nvPr/>
          </p:nvSpPr>
          <p:spPr bwMode="auto">
            <a:xfrm>
              <a:off x="1840" y="2177"/>
              <a:ext cx="578" cy="590"/>
            </a:xfrm>
            <a:custGeom>
              <a:avLst/>
              <a:gdLst>
                <a:gd name="T0" fmla="*/ 244 w 244"/>
                <a:gd name="T1" fmla="*/ 8 h 249"/>
                <a:gd name="T2" fmla="*/ 241 w 244"/>
                <a:gd name="T3" fmla="*/ 0 h 249"/>
                <a:gd name="T4" fmla="*/ 0 w 244"/>
                <a:gd name="T5" fmla="*/ 242 h 249"/>
                <a:gd name="T6" fmla="*/ 4 w 244"/>
                <a:gd name="T7" fmla="*/ 249 h 249"/>
                <a:gd name="T8" fmla="*/ 244 w 244"/>
                <a:gd name="T9" fmla="*/ 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9">
                  <a:moveTo>
                    <a:pt x="244" y="8"/>
                  </a:moveTo>
                  <a:cubicBezTo>
                    <a:pt x="243" y="6"/>
                    <a:pt x="242" y="3"/>
                    <a:pt x="241" y="0"/>
                  </a:cubicBezTo>
                  <a:lnTo>
                    <a:pt x="0" y="242"/>
                  </a:lnTo>
                  <a:cubicBezTo>
                    <a:pt x="1" y="244"/>
                    <a:pt x="3" y="246"/>
                    <a:pt x="4" y="249"/>
                  </a:cubicBezTo>
                  <a:lnTo>
                    <a:pt x="24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3"/>
            <p:cNvSpPr>
              <a:spLocks/>
            </p:cNvSpPr>
            <p:nvPr/>
          </p:nvSpPr>
          <p:spPr bwMode="auto">
            <a:xfrm>
              <a:off x="1883" y="2255"/>
              <a:ext cx="573" cy="581"/>
            </a:xfrm>
            <a:custGeom>
              <a:avLst/>
              <a:gdLst>
                <a:gd name="T0" fmla="*/ 242 w 242"/>
                <a:gd name="T1" fmla="*/ 8 h 245"/>
                <a:gd name="T2" fmla="*/ 238 w 242"/>
                <a:gd name="T3" fmla="*/ 0 h 245"/>
                <a:gd name="T4" fmla="*/ 0 w 242"/>
                <a:gd name="T5" fmla="*/ 238 h 245"/>
                <a:gd name="T6" fmla="*/ 5 w 242"/>
                <a:gd name="T7" fmla="*/ 245 h 245"/>
                <a:gd name="T8" fmla="*/ 242 w 242"/>
                <a:gd name="T9" fmla="*/ 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5">
                  <a:moveTo>
                    <a:pt x="242" y="8"/>
                  </a:moveTo>
                  <a:cubicBezTo>
                    <a:pt x="240" y="5"/>
                    <a:pt x="239" y="3"/>
                    <a:pt x="238" y="0"/>
                  </a:cubicBezTo>
                  <a:lnTo>
                    <a:pt x="0" y="238"/>
                  </a:lnTo>
                  <a:cubicBezTo>
                    <a:pt x="2" y="240"/>
                    <a:pt x="3" y="243"/>
                    <a:pt x="5" y="245"/>
                  </a:cubicBezTo>
                  <a:lnTo>
                    <a:pt x="24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74"/>
            <p:cNvSpPr>
              <a:spLocks/>
            </p:cNvSpPr>
            <p:nvPr/>
          </p:nvSpPr>
          <p:spPr bwMode="auto">
            <a:xfrm>
              <a:off x="1930" y="2329"/>
              <a:ext cx="569" cy="574"/>
            </a:xfrm>
            <a:custGeom>
              <a:avLst/>
              <a:gdLst>
                <a:gd name="T0" fmla="*/ 240 w 240"/>
                <a:gd name="T1" fmla="*/ 7 h 242"/>
                <a:gd name="T2" fmla="*/ 235 w 240"/>
                <a:gd name="T3" fmla="*/ 0 h 242"/>
                <a:gd name="T4" fmla="*/ 0 w 240"/>
                <a:gd name="T5" fmla="*/ 235 h 242"/>
                <a:gd name="T6" fmla="*/ 5 w 240"/>
                <a:gd name="T7" fmla="*/ 242 h 242"/>
                <a:gd name="T8" fmla="*/ 240 w 240"/>
                <a:gd name="T9" fmla="*/ 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242">
                  <a:moveTo>
                    <a:pt x="240" y="7"/>
                  </a:moveTo>
                  <a:cubicBezTo>
                    <a:pt x="238" y="5"/>
                    <a:pt x="237" y="2"/>
                    <a:pt x="235" y="0"/>
                  </a:cubicBezTo>
                  <a:lnTo>
                    <a:pt x="0" y="235"/>
                  </a:lnTo>
                  <a:cubicBezTo>
                    <a:pt x="2" y="237"/>
                    <a:pt x="4" y="240"/>
                    <a:pt x="5" y="242"/>
                  </a:cubicBezTo>
                  <a:lnTo>
                    <a:pt x="24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75"/>
            <p:cNvSpPr>
              <a:spLocks/>
            </p:cNvSpPr>
            <p:nvPr/>
          </p:nvSpPr>
          <p:spPr bwMode="auto">
            <a:xfrm>
              <a:off x="1729" y="1906"/>
              <a:ext cx="613" cy="631"/>
            </a:xfrm>
            <a:custGeom>
              <a:avLst/>
              <a:gdLst>
                <a:gd name="T0" fmla="*/ 259 w 259"/>
                <a:gd name="T1" fmla="*/ 10 h 266"/>
                <a:gd name="T2" fmla="*/ 257 w 259"/>
                <a:gd name="T3" fmla="*/ 0 h 266"/>
                <a:gd name="T4" fmla="*/ 0 w 259"/>
                <a:gd name="T5" fmla="*/ 258 h 266"/>
                <a:gd name="T6" fmla="*/ 3 w 259"/>
                <a:gd name="T7" fmla="*/ 266 h 266"/>
                <a:gd name="T8" fmla="*/ 259 w 259"/>
                <a:gd name="T9" fmla="*/ 1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66">
                  <a:moveTo>
                    <a:pt x="259" y="10"/>
                  </a:moveTo>
                  <a:cubicBezTo>
                    <a:pt x="258" y="7"/>
                    <a:pt x="258" y="4"/>
                    <a:pt x="257" y="0"/>
                  </a:cubicBezTo>
                  <a:lnTo>
                    <a:pt x="0" y="258"/>
                  </a:lnTo>
                  <a:cubicBezTo>
                    <a:pt x="1" y="261"/>
                    <a:pt x="2" y="264"/>
                    <a:pt x="3" y="266"/>
                  </a:cubicBezTo>
                  <a:lnTo>
                    <a:pt x="25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276"/>
            <p:cNvSpPr>
              <a:spLocks/>
            </p:cNvSpPr>
            <p:nvPr/>
          </p:nvSpPr>
          <p:spPr bwMode="auto">
            <a:xfrm>
              <a:off x="1800" y="2094"/>
              <a:ext cx="588" cy="600"/>
            </a:xfrm>
            <a:custGeom>
              <a:avLst/>
              <a:gdLst>
                <a:gd name="T0" fmla="*/ 248 w 248"/>
                <a:gd name="T1" fmla="*/ 8 h 253"/>
                <a:gd name="T2" fmla="*/ 245 w 248"/>
                <a:gd name="T3" fmla="*/ 0 h 253"/>
                <a:gd name="T4" fmla="*/ 0 w 248"/>
                <a:gd name="T5" fmla="*/ 246 h 253"/>
                <a:gd name="T6" fmla="*/ 3 w 248"/>
                <a:gd name="T7" fmla="*/ 253 h 253"/>
                <a:gd name="T8" fmla="*/ 248 w 248"/>
                <a:gd name="T9" fmla="*/ 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53">
                  <a:moveTo>
                    <a:pt x="248" y="8"/>
                  </a:moveTo>
                  <a:cubicBezTo>
                    <a:pt x="247" y="6"/>
                    <a:pt x="246" y="3"/>
                    <a:pt x="245" y="0"/>
                  </a:cubicBezTo>
                  <a:lnTo>
                    <a:pt x="0" y="246"/>
                  </a:lnTo>
                  <a:cubicBezTo>
                    <a:pt x="1" y="248"/>
                    <a:pt x="2" y="250"/>
                    <a:pt x="3" y="253"/>
                  </a:cubicBezTo>
                  <a:lnTo>
                    <a:pt x="24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77"/>
            <p:cNvSpPr>
              <a:spLocks/>
            </p:cNvSpPr>
            <p:nvPr/>
          </p:nvSpPr>
          <p:spPr bwMode="auto">
            <a:xfrm>
              <a:off x="1698" y="1802"/>
              <a:ext cx="633" cy="652"/>
            </a:xfrm>
            <a:custGeom>
              <a:avLst/>
              <a:gdLst>
                <a:gd name="T0" fmla="*/ 267 w 267"/>
                <a:gd name="T1" fmla="*/ 11 h 275"/>
                <a:gd name="T2" fmla="*/ 266 w 267"/>
                <a:gd name="T3" fmla="*/ 0 h 275"/>
                <a:gd name="T4" fmla="*/ 0 w 267"/>
                <a:gd name="T5" fmla="*/ 266 h 275"/>
                <a:gd name="T6" fmla="*/ 3 w 267"/>
                <a:gd name="T7" fmla="*/ 275 h 275"/>
                <a:gd name="T8" fmla="*/ 267 w 267"/>
                <a:gd name="T9" fmla="*/ 1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275">
                  <a:moveTo>
                    <a:pt x="267" y="11"/>
                  </a:moveTo>
                  <a:cubicBezTo>
                    <a:pt x="267" y="7"/>
                    <a:pt x="267" y="3"/>
                    <a:pt x="266" y="0"/>
                  </a:cubicBezTo>
                  <a:lnTo>
                    <a:pt x="0" y="266"/>
                  </a:lnTo>
                  <a:cubicBezTo>
                    <a:pt x="1" y="269"/>
                    <a:pt x="2" y="272"/>
                    <a:pt x="3" y="275"/>
                  </a:cubicBezTo>
                  <a:lnTo>
                    <a:pt x="26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78"/>
            <p:cNvSpPr>
              <a:spLocks/>
            </p:cNvSpPr>
            <p:nvPr/>
          </p:nvSpPr>
          <p:spPr bwMode="auto">
            <a:xfrm>
              <a:off x="1762" y="2004"/>
              <a:ext cx="599" cy="614"/>
            </a:xfrm>
            <a:custGeom>
              <a:avLst/>
              <a:gdLst>
                <a:gd name="T0" fmla="*/ 253 w 253"/>
                <a:gd name="T1" fmla="*/ 9 h 259"/>
                <a:gd name="T2" fmla="*/ 250 w 253"/>
                <a:gd name="T3" fmla="*/ 0 h 259"/>
                <a:gd name="T4" fmla="*/ 0 w 253"/>
                <a:gd name="T5" fmla="*/ 251 h 259"/>
                <a:gd name="T6" fmla="*/ 3 w 253"/>
                <a:gd name="T7" fmla="*/ 259 h 259"/>
                <a:gd name="T8" fmla="*/ 253 w 253"/>
                <a:gd name="T9" fmla="*/ 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259">
                  <a:moveTo>
                    <a:pt x="253" y="9"/>
                  </a:moveTo>
                  <a:cubicBezTo>
                    <a:pt x="252" y="6"/>
                    <a:pt x="251" y="3"/>
                    <a:pt x="250" y="0"/>
                  </a:cubicBezTo>
                  <a:lnTo>
                    <a:pt x="0" y="251"/>
                  </a:lnTo>
                  <a:cubicBezTo>
                    <a:pt x="1" y="254"/>
                    <a:pt x="2" y="256"/>
                    <a:pt x="3" y="259"/>
                  </a:cubicBezTo>
                  <a:lnTo>
                    <a:pt x="25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279"/>
            <p:cNvSpPr>
              <a:spLocks/>
            </p:cNvSpPr>
            <p:nvPr/>
          </p:nvSpPr>
          <p:spPr bwMode="auto">
            <a:xfrm>
              <a:off x="3020" y="457"/>
              <a:ext cx="332" cy="309"/>
            </a:xfrm>
            <a:custGeom>
              <a:avLst/>
              <a:gdLst>
                <a:gd name="T0" fmla="*/ 0 w 140"/>
                <a:gd name="T1" fmla="*/ 130 h 130"/>
                <a:gd name="T2" fmla="*/ 18 w 140"/>
                <a:gd name="T3" fmla="*/ 124 h 130"/>
                <a:gd name="T4" fmla="*/ 140 w 140"/>
                <a:gd name="T5" fmla="*/ 2 h 130"/>
                <a:gd name="T6" fmla="*/ 130 w 140"/>
                <a:gd name="T7" fmla="*/ 0 h 130"/>
                <a:gd name="T8" fmla="*/ 0 w 140"/>
                <a:gd name="T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0">
                  <a:moveTo>
                    <a:pt x="0" y="130"/>
                  </a:moveTo>
                  <a:cubicBezTo>
                    <a:pt x="6" y="128"/>
                    <a:pt x="12" y="126"/>
                    <a:pt x="18" y="124"/>
                  </a:cubicBezTo>
                  <a:lnTo>
                    <a:pt x="140" y="2"/>
                  </a:lnTo>
                  <a:cubicBezTo>
                    <a:pt x="137" y="1"/>
                    <a:pt x="133" y="1"/>
                    <a:pt x="130" y="0"/>
                  </a:cubicBezTo>
                  <a:lnTo>
                    <a:pt x="0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280"/>
            <p:cNvSpPr>
              <a:spLocks/>
            </p:cNvSpPr>
            <p:nvPr/>
          </p:nvSpPr>
          <p:spPr bwMode="auto">
            <a:xfrm>
              <a:off x="1684" y="505"/>
              <a:ext cx="1054" cy="1058"/>
            </a:xfrm>
            <a:custGeom>
              <a:avLst/>
              <a:gdLst>
                <a:gd name="T0" fmla="*/ 445 w 445"/>
                <a:gd name="T1" fmla="*/ 0 h 446"/>
                <a:gd name="T2" fmla="*/ 429 w 445"/>
                <a:gd name="T3" fmla="*/ 5 h 446"/>
                <a:gd name="T4" fmla="*/ 4 w 445"/>
                <a:gd name="T5" fmla="*/ 430 h 446"/>
                <a:gd name="T6" fmla="*/ 0 w 445"/>
                <a:gd name="T7" fmla="*/ 446 h 446"/>
                <a:gd name="T8" fmla="*/ 445 w 445"/>
                <a:gd name="T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6">
                  <a:moveTo>
                    <a:pt x="445" y="0"/>
                  </a:moveTo>
                  <a:cubicBezTo>
                    <a:pt x="439" y="2"/>
                    <a:pt x="434" y="3"/>
                    <a:pt x="429" y="5"/>
                  </a:cubicBezTo>
                  <a:lnTo>
                    <a:pt x="4" y="430"/>
                  </a:lnTo>
                  <a:cubicBezTo>
                    <a:pt x="3" y="435"/>
                    <a:pt x="1" y="441"/>
                    <a:pt x="0" y="446"/>
                  </a:cubicBezTo>
                  <a:lnTo>
                    <a:pt x="4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281"/>
            <p:cNvSpPr>
              <a:spLocks/>
            </p:cNvSpPr>
            <p:nvPr/>
          </p:nvSpPr>
          <p:spPr bwMode="auto">
            <a:xfrm>
              <a:off x="1651" y="472"/>
              <a:ext cx="1234" cy="1238"/>
            </a:xfrm>
            <a:custGeom>
              <a:avLst/>
              <a:gdLst>
                <a:gd name="T0" fmla="*/ 521 w 521"/>
                <a:gd name="T1" fmla="*/ 0 h 522"/>
                <a:gd name="T2" fmla="*/ 507 w 521"/>
                <a:gd name="T3" fmla="*/ 2 h 522"/>
                <a:gd name="T4" fmla="*/ 2 w 521"/>
                <a:gd name="T5" fmla="*/ 508 h 522"/>
                <a:gd name="T6" fmla="*/ 0 w 521"/>
                <a:gd name="T7" fmla="*/ 522 h 522"/>
                <a:gd name="T8" fmla="*/ 521 w 521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522">
                  <a:moveTo>
                    <a:pt x="521" y="0"/>
                  </a:moveTo>
                  <a:cubicBezTo>
                    <a:pt x="517" y="1"/>
                    <a:pt x="512" y="2"/>
                    <a:pt x="507" y="2"/>
                  </a:cubicBezTo>
                  <a:lnTo>
                    <a:pt x="2" y="508"/>
                  </a:lnTo>
                  <a:cubicBezTo>
                    <a:pt x="1" y="513"/>
                    <a:pt x="0" y="518"/>
                    <a:pt x="0" y="522"/>
                  </a:cubicBezTo>
                  <a:lnTo>
                    <a:pt x="5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82"/>
            <p:cNvSpPr>
              <a:spLocks/>
            </p:cNvSpPr>
            <p:nvPr/>
          </p:nvSpPr>
          <p:spPr bwMode="auto">
            <a:xfrm>
              <a:off x="1632" y="453"/>
              <a:ext cx="1386" cy="1389"/>
            </a:xfrm>
            <a:custGeom>
              <a:avLst/>
              <a:gdLst>
                <a:gd name="T0" fmla="*/ 585 w 585"/>
                <a:gd name="T1" fmla="*/ 0 h 586"/>
                <a:gd name="T2" fmla="*/ 572 w 585"/>
                <a:gd name="T3" fmla="*/ 2 h 586"/>
                <a:gd name="T4" fmla="*/ 2 w 585"/>
                <a:gd name="T5" fmla="*/ 573 h 586"/>
                <a:gd name="T6" fmla="*/ 0 w 585"/>
                <a:gd name="T7" fmla="*/ 586 h 586"/>
                <a:gd name="T8" fmla="*/ 585 w 585"/>
                <a:gd name="T9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5" h="586">
                  <a:moveTo>
                    <a:pt x="585" y="0"/>
                  </a:moveTo>
                  <a:cubicBezTo>
                    <a:pt x="581" y="1"/>
                    <a:pt x="576" y="1"/>
                    <a:pt x="572" y="2"/>
                  </a:cubicBezTo>
                  <a:lnTo>
                    <a:pt x="2" y="573"/>
                  </a:lnTo>
                  <a:cubicBezTo>
                    <a:pt x="1" y="577"/>
                    <a:pt x="1" y="581"/>
                    <a:pt x="0" y="586"/>
                  </a:cubicBezTo>
                  <a:lnTo>
                    <a:pt x="58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83"/>
            <p:cNvSpPr>
              <a:spLocks/>
            </p:cNvSpPr>
            <p:nvPr/>
          </p:nvSpPr>
          <p:spPr bwMode="auto">
            <a:xfrm>
              <a:off x="3146" y="1966"/>
              <a:ext cx="1528" cy="1532"/>
            </a:xfrm>
            <a:custGeom>
              <a:avLst/>
              <a:gdLst>
                <a:gd name="T0" fmla="*/ 645 w 645"/>
                <a:gd name="T1" fmla="*/ 0 h 646"/>
                <a:gd name="T2" fmla="*/ 0 w 645"/>
                <a:gd name="T3" fmla="*/ 646 h 646"/>
                <a:gd name="T4" fmla="*/ 11 w 645"/>
                <a:gd name="T5" fmla="*/ 646 h 646"/>
                <a:gd name="T6" fmla="*/ 644 w 645"/>
                <a:gd name="T7" fmla="*/ 11 h 646"/>
                <a:gd name="T8" fmla="*/ 645 w 645"/>
                <a:gd name="T9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646">
                  <a:moveTo>
                    <a:pt x="645" y="0"/>
                  </a:moveTo>
                  <a:lnTo>
                    <a:pt x="0" y="646"/>
                  </a:lnTo>
                  <a:cubicBezTo>
                    <a:pt x="3" y="646"/>
                    <a:pt x="7" y="646"/>
                    <a:pt x="11" y="646"/>
                  </a:cubicBezTo>
                  <a:lnTo>
                    <a:pt x="644" y="11"/>
                  </a:lnTo>
                  <a:cubicBezTo>
                    <a:pt x="645" y="7"/>
                    <a:pt x="645" y="4"/>
                    <a:pt x="64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84"/>
            <p:cNvSpPr>
              <a:spLocks/>
            </p:cNvSpPr>
            <p:nvPr/>
          </p:nvSpPr>
          <p:spPr bwMode="auto">
            <a:xfrm>
              <a:off x="1743" y="567"/>
              <a:ext cx="820" cy="820"/>
            </a:xfrm>
            <a:custGeom>
              <a:avLst/>
              <a:gdLst>
                <a:gd name="T0" fmla="*/ 346 w 346"/>
                <a:gd name="T1" fmla="*/ 0 h 346"/>
                <a:gd name="T2" fmla="*/ 326 w 346"/>
                <a:gd name="T3" fmla="*/ 8 h 346"/>
                <a:gd name="T4" fmla="*/ 9 w 346"/>
                <a:gd name="T5" fmla="*/ 326 h 346"/>
                <a:gd name="T6" fmla="*/ 0 w 346"/>
                <a:gd name="T7" fmla="*/ 346 h 346"/>
                <a:gd name="T8" fmla="*/ 346 w 346"/>
                <a:gd name="T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340" y="2"/>
                    <a:pt x="333" y="5"/>
                    <a:pt x="326" y="8"/>
                  </a:cubicBezTo>
                  <a:lnTo>
                    <a:pt x="9" y="326"/>
                  </a:lnTo>
                  <a:cubicBezTo>
                    <a:pt x="6" y="333"/>
                    <a:pt x="3" y="339"/>
                    <a:pt x="0" y="346"/>
                  </a:cubicBez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85"/>
            <p:cNvSpPr>
              <a:spLocks/>
            </p:cNvSpPr>
            <p:nvPr/>
          </p:nvSpPr>
          <p:spPr bwMode="auto">
            <a:xfrm>
              <a:off x="1627" y="448"/>
              <a:ext cx="1509" cy="1513"/>
            </a:xfrm>
            <a:custGeom>
              <a:avLst/>
              <a:gdLst>
                <a:gd name="T0" fmla="*/ 637 w 637"/>
                <a:gd name="T1" fmla="*/ 0 h 638"/>
                <a:gd name="T2" fmla="*/ 626 w 637"/>
                <a:gd name="T3" fmla="*/ 0 h 638"/>
                <a:gd name="T4" fmla="*/ 0 w 637"/>
                <a:gd name="T5" fmla="*/ 627 h 638"/>
                <a:gd name="T6" fmla="*/ 0 w 637"/>
                <a:gd name="T7" fmla="*/ 638 h 638"/>
                <a:gd name="T8" fmla="*/ 637 w 637"/>
                <a:gd name="T9" fmla="*/ 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7" h="638">
                  <a:moveTo>
                    <a:pt x="637" y="0"/>
                  </a:moveTo>
                  <a:cubicBezTo>
                    <a:pt x="633" y="0"/>
                    <a:pt x="630" y="0"/>
                    <a:pt x="626" y="0"/>
                  </a:cubicBezTo>
                  <a:lnTo>
                    <a:pt x="0" y="627"/>
                  </a:lnTo>
                  <a:cubicBezTo>
                    <a:pt x="0" y="630"/>
                    <a:pt x="0" y="634"/>
                    <a:pt x="0" y="638"/>
                  </a:cubicBezTo>
                  <a:lnTo>
                    <a:pt x="6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86"/>
            <p:cNvSpPr>
              <a:spLocks/>
            </p:cNvSpPr>
            <p:nvPr/>
          </p:nvSpPr>
          <p:spPr bwMode="auto">
            <a:xfrm>
              <a:off x="1871" y="692"/>
              <a:ext cx="453" cy="453"/>
            </a:xfrm>
            <a:custGeom>
              <a:avLst/>
              <a:gdLst>
                <a:gd name="T0" fmla="*/ 191 w 191"/>
                <a:gd name="T1" fmla="*/ 0 h 191"/>
                <a:gd name="T2" fmla="*/ 154 w 191"/>
                <a:gd name="T3" fmla="*/ 26 h 191"/>
                <a:gd name="T4" fmla="*/ 26 w 191"/>
                <a:gd name="T5" fmla="*/ 154 h 191"/>
                <a:gd name="T6" fmla="*/ 0 w 191"/>
                <a:gd name="T7" fmla="*/ 191 h 191"/>
                <a:gd name="T8" fmla="*/ 191 w 191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91">
                  <a:moveTo>
                    <a:pt x="191" y="0"/>
                  </a:moveTo>
                  <a:cubicBezTo>
                    <a:pt x="178" y="8"/>
                    <a:pt x="166" y="17"/>
                    <a:pt x="154" y="26"/>
                  </a:cubicBezTo>
                  <a:lnTo>
                    <a:pt x="26" y="154"/>
                  </a:lnTo>
                  <a:cubicBezTo>
                    <a:pt x="17" y="166"/>
                    <a:pt x="8" y="179"/>
                    <a:pt x="0" y="191"/>
                  </a:cubicBezTo>
                  <a:lnTo>
                    <a:pt x="1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287"/>
            <p:cNvSpPr>
              <a:spLocks/>
            </p:cNvSpPr>
            <p:nvPr/>
          </p:nvSpPr>
          <p:spPr bwMode="auto">
            <a:xfrm>
              <a:off x="3885" y="704"/>
              <a:ext cx="125" cy="119"/>
            </a:xfrm>
            <a:custGeom>
              <a:avLst/>
              <a:gdLst>
                <a:gd name="T0" fmla="*/ 0 w 53"/>
                <a:gd name="T1" fmla="*/ 46 h 50"/>
                <a:gd name="T2" fmla="*/ 7 w 53"/>
                <a:gd name="T3" fmla="*/ 50 h 50"/>
                <a:gd name="T4" fmla="*/ 53 w 53"/>
                <a:gd name="T5" fmla="*/ 4 h 50"/>
                <a:gd name="T6" fmla="*/ 46 w 53"/>
                <a:gd name="T7" fmla="*/ 0 h 50"/>
                <a:gd name="T8" fmla="*/ 0 w 53"/>
                <a:gd name="T9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0" y="46"/>
                  </a:moveTo>
                  <a:cubicBezTo>
                    <a:pt x="2" y="48"/>
                    <a:pt x="5" y="49"/>
                    <a:pt x="7" y="50"/>
                  </a:cubicBezTo>
                  <a:lnTo>
                    <a:pt x="53" y="4"/>
                  </a:lnTo>
                  <a:cubicBezTo>
                    <a:pt x="51" y="3"/>
                    <a:pt x="48" y="1"/>
                    <a:pt x="46" y="0"/>
                  </a:cubicBez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88"/>
            <p:cNvSpPr>
              <a:spLocks/>
            </p:cNvSpPr>
            <p:nvPr/>
          </p:nvSpPr>
          <p:spPr bwMode="auto">
            <a:xfrm>
              <a:off x="3724" y="619"/>
              <a:ext cx="144" cy="135"/>
            </a:xfrm>
            <a:custGeom>
              <a:avLst/>
              <a:gdLst>
                <a:gd name="T0" fmla="*/ 0 w 61"/>
                <a:gd name="T1" fmla="*/ 54 h 57"/>
                <a:gd name="T2" fmla="*/ 8 w 61"/>
                <a:gd name="T3" fmla="*/ 57 h 57"/>
                <a:gd name="T4" fmla="*/ 61 w 61"/>
                <a:gd name="T5" fmla="*/ 4 h 57"/>
                <a:gd name="T6" fmla="*/ 54 w 61"/>
                <a:gd name="T7" fmla="*/ 0 h 57"/>
                <a:gd name="T8" fmla="*/ 0 w 61"/>
                <a:gd name="T9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7">
                  <a:moveTo>
                    <a:pt x="0" y="54"/>
                  </a:moveTo>
                  <a:cubicBezTo>
                    <a:pt x="3" y="55"/>
                    <a:pt x="5" y="56"/>
                    <a:pt x="8" y="57"/>
                  </a:cubicBezTo>
                  <a:lnTo>
                    <a:pt x="61" y="4"/>
                  </a:lnTo>
                  <a:cubicBezTo>
                    <a:pt x="59" y="3"/>
                    <a:pt x="56" y="1"/>
                    <a:pt x="54" y="0"/>
                  </a:cubicBez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289"/>
            <p:cNvSpPr>
              <a:spLocks/>
            </p:cNvSpPr>
            <p:nvPr/>
          </p:nvSpPr>
          <p:spPr bwMode="auto">
            <a:xfrm>
              <a:off x="3958" y="752"/>
              <a:ext cx="119" cy="113"/>
            </a:xfrm>
            <a:custGeom>
              <a:avLst/>
              <a:gdLst>
                <a:gd name="T0" fmla="*/ 43 w 50"/>
                <a:gd name="T1" fmla="*/ 0 h 48"/>
                <a:gd name="T2" fmla="*/ 0 w 50"/>
                <a:gd name="T3" fmla="*/ 43 h 48"/>
                <a:gd name="T4" fmla="*/ 7 w 50"/>
                <a:gd name="T5" fmla="*/ 48 h 48"/>
                <a:gd name="T6" fmla="*/ 50 w 50"/>
                <a:gd name="T7" fmla="*/ 5 h 48"/>
                <a:gd name="T8" fmla="*/ 43 w 5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8">
                  <a:moveTo>
                    <a:pt x="43" y="0"/>
                  </a:moveTo>
                  <a:lnTo>
                    <a:pt x="0" y="43"/>
                  </a:lnTo>
                  <a:cubicBezTo>
                    <a:pt x="2" y="45"/>
                    <a:pt x="4" y="46"/>
                    <a:pt x="7" y="48"/>
                  </a:cubicBezTo>
                  <a:lnTo>
                    <a:pt x="50" y="5"/>
                  </a:lnTo>
                  <a:cubicBezTo>
                    <a:pt x="48" y="3"/>
                    <a:pt x="45" y="1"/>
                    <a:pt x="4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290"/>
            <p:cNvSpPr>
              <a:spLocks/>
            </p:cNvSpPr>
            <p:nvPr/>
          </p:nvSpPr>
          <p:spPr bwMode="auto">
            <a:xfrm>
              <a:off x="3430" y="519"/>
              <a:ext cx="199" cy="178"/>
            </a:xfrm>
            <a:custGeom>
              <a:avLst/>
              <a:gdLst>
                <a:gd name="T0" fmla="*/ 0 w 84"/>
                <a:gd name="T1" fmla="*/ 75 h 75"/>
                <a:gd name="T2" fmla="*/ 11 w 84"/>
                <a:gd name="T3" fmla="*/ 75 h 75"/>
                <a:gd name="T4" fmla="*/ 84 w 84"/>
                <a:gd name="T5" fmla="*/ 3 h 75"/>
                <a:gd name="T6" fmla="*/ 76 w 84"/>
                <a:gd name="T7" fmla="*/ 0 h 75"/>
                <a:gd name="T8" fmla="*/ 0 w 84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5">
                  <a:moveTo>
                    <a:pt x="0" y="75"/>
                  </a:moveTo>
                  <a:cubicBezTo>
                    <a:pt x="4" y="75"/>
                    <a:pt x="8" y="75"/>
                    <a:pt x="11" y="75"/>
                  </a:cubicBezTo>
                  <a:lnTo>
                    <a:pt x="84" y="3"/>
                  </a:lnTo>
                  <a:cubicBezTo>
                    <a:pt x="81" y="2"/>
                    <a:pt x="78" y="1"/>
                    <a:pt x="76" y="0"/>
                  </a:cubicBez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291"/>
            <p:cNvSpPr>
              <a:spLocks/>
            </p:cNvSpPr>
            <p:nvPr/>
          </p:nvSpPr>
          <p:spPr bwMode="auto">
            <a:xfrm>
              <a:off x="3537" y="548"/>
              <a:ext cx="175" cy="161"/>
            </a:xfrm>
            <a:custGeom>
              <a:avLst/>
              <a:gdLst>
                <a:gd name="T0" fmla="*/ 0 w 74"/>
                <a:gd name="T1" fmla="*/ 67 h 68"/>
                <a:gd name="T2" fmla="*/ 10 w 74"/>
                <a:gd name="T3" fmla="*/ 68 h 68"/>
                <a:gd name="T4" fmla="*/ 74 w 74"/>
                <a:gd name="T5" fmla="*/ 4 h 68"/>
                <a:gd name="T6" fmla="*/ 66 w 74"/>
                <a:gd name="T7" fmla="*/ 0 h 68"/>
                <a:gd name="T8" fmla="*/ 0 w 74"/>
                <a:gd name="T9" fmla="*/ 6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8">
                  <a:moveTo>
                    <a:pt x="0" y="67"/>
                  </a:moveTo>
                  <a:cubicBezTo>
                    <a:pt x="3" y="67"/>
                    <a:pt x="7" y="67"/>
                    <a:pt x="10" y="68"/>
                  </a:cubicBezTo>
                  <a:lnTo>
                    <a:pt x="74" y="4"/>
                  </a:lnTo>
                  <a:cubicBezTo>
                    <a:pt x="72" y="2"/>
                    <a:pt x="69" y="1"/>
                    <a:pt x="66" y="0"/>
                  </a:cubicBez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292"/>
            <p:cNvSpPr>
              <a:spLocks/>
            </p:cNvSpPr>
            <p:nvPr/>
          </p:nvSpPr>
          <p:spPr bwMode="auto">
            <a:xfrm>
              <a:off x="3807" y="659"/>
              <a:ext cx="135" cy="126"/>
            </a:xfrm>
            <a:custGeom>
              <a:avLst/>
              <a:gdLst>
                <a:gd name="T0" fmla="*/ 0 w 57"/>
                <a:gd name="T1" fmla="*/ 50 h 53"/>
                <a:gd name="T2" fmla="*/ 8 w 57"/>
                <a:gd name="T3" fmla="*/ 53 h 53"/>
                <a:gd name="T4" fmla="*/ 57 w 57"/>
                <a:gd name="T5" fmla="*/ 5 h 53"/>
                <a:gd name="T6" fmla="*/ 50 w 57"/>
                <a:gd name="T7" fmla="*/ 0 h 53"/>
                <a:gd name="T8" fmla="*/ 0 w 57"/>
                <a:gd name="T9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3">
                  <a:moveTo>
                    <a:pt x="0" y="50"/>
                  </a:moveTo>
                  <a:cubicBezTo>
                    <a:pt x="3" y="51"/>
                    <a:pt x="5" y="52"/>
                    <a:pt x="8" y="53"/>
                  </a:cubicBezTo>
                  <a:lnTo>
                    <a:pt x="57" y="5"/>
                  </a:lnTo>
                  <a:cubicBezTo>
                    <a:pt x="54" y="3"/>
                    <a:pt x="52" y="2"/>
                    <a:pt x="50" y="0"/>
                  </a:cubicBezTo>
                  <a:lnTo>
                    <a:pt x="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293"/>
            <p:cNvSpPr>
              <a:spLocks/>
            </p:cNvSpPr>
            <p:nvPr/>
          </p:nvSpPr>
          <p:spPr bwMode="auto">
            <a:xfrm>
              <a:off x="3314" y="493"/>
              <a:ext cx="227" cy="206"/>
            </a:xfrm>
            <a:custGeom>
              <a:avLst/>
              <a:gdLst>
                <a:gd name="T0" fmla="*/ 0 w 96"/>
                <a:gd name="T1" fmla="*/ 87 h 87"/>
                <a:gd name="T2" fmla="*/ 12 w 96"/>
                <a:gd name="T3" fmla="*/ 86 h 87"/>
                <a:gd name="T4" fmla="*/ 96 w 96"/>
                <a:gd name="T5" fmla="*/ 3 h 87"/>
                <a:gd name="T6" fmla="*/ 87 w 96"/>
                <a:gd name="T7" fmla="*/ 0 h 87"/>
                <a:gd name="T8" fmla="*/ 0 w 96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7">
                  <a:moveTo>
                    <a:pt x="0" y="87"/>
                  </a:moveTo>
                  <a:cubicBezTo>
                    <a:pt x="4" y="87"/>
                    <a:pt x="8" y="87"/>
                    <a:pt x="12" y="86"/>
                  </a:cubicBezTo>
                  <a:lnTo>
                    <a:pt x="96" y="3"/>
                  </a:lnTo>
                  <a:cubicBezTo>
                    <a:pt x="93" y="2"/>
                    <a:pt x="90" y="1"/>
                    <a:pt x="87" y="0"/>
                  </a:cubicBez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294"/>
            <p:cNvSpPr>
              <a:spLocks/>
            </p:cNvSpPr>
            <p:nvPr/>
          </p:nvSpPr>
          <p:spPr bwMode="auto">
            <a:xfrm>
              <a:off x="3634" y="583"/>
              <a:ext cx="158" cy="145"/>
            </a:xfrm>
            <a:custGeom>
              <a:avLst/>
              <a:gdLst>
                <a:gd name="T0" fmla="*/ 0 w 67"/>
                <a:gd name="T1" fmla="*/ 59 h 61"/>
                <a:gd name="T2" fmla="*/ 9 w 67"/>
                <a:gd name="T3" fmla="*/ 61 h 61"/>
                <a:gd name="T4" fmla="*/ 67 w 67"/>
                <a:gd name="T5" fmla="*/ 3 h 61"/>
                <a:gd name="T6" fmla="*/ 59 w 67"/>
                <a:gd name="T7" fmla="*/ 0 h 61"/>
                <a:gd name="T8" fmla="*/ 0 w 67"/>
                <a:gd name="T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0" y="59"/>
                  </a:moveTo>
                  <a:cubicBezTo>
                    <a:pt x="3" y="60"/>
                    <a:pt x="6" y="60"/>
                    <a:pt x="9" y="61"/>
                  </a:cubicBezTo>
                  <a:lnTo>
                    <a:pt x="67" y="3"/>
                  </a:lnTo>
                  <a:cubicBezTo>
                    <a:pt x="64" y="2"/>
                    <a:pt x="62" y="1"/>
                    <a:pt x="59" y="0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295"/>
            <p:cNvSpPr>
              <a:spLocks/>
            </p:cNvSpPr>
            <p:nvPr/>
          </p:nvSpPr>
          <p:spPr bwMode="auto">
            <a:xfrm>
              <a:off x="2835" y="3230"/>
              <a:ext cx="261" cy="239"/>
            </a:xfrm>
            <a:custGeom>
              <a:avLst/>
              <a:gdLst>
                <a:gd name="T0" fmla="*/ 110 w 110"/>
                <a:gd name="T1" fmla="*/ 0 h 101"/>
                <a:gd name="T2" fmla="*/ 96 w 110"/>
                <a:gd name="T3" fmla="*/ 3 h 101"/>
                <a:gd name="T4" fmla="*/ 0 w 110"/>
                <a:gd name="T5" fmla="*/ 99 h 101"/>
                <a:gd name="T6" fmla="*/ 10 w 110"/>
                <a:gd name="T7" fmla="*/ 101 h 101"/>
                <a:gd name="T8" fmla="*/ 110 w 110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01">
                  <a:moveTo>
                    <a:pt x="110" y="0"/>
                  </a:moveTo>
                  <a:cubicBezTo>
                    <a:pt x="106" y="1"/>
                    <a:pt x="101" y="2"/>
                    <a:pt x="96" y="3"/>
                  </a:cubicBezTo>
                  <a:lnTo>
                    <a:pt x="0" y="99"/>
                  </a:lnTo>
                  <a:cubicBezTo>
                    <a:pt x="3" y="100"/>
                    <a:pt x="6" y="100"/>
                    <a:pt x="10" y="101"/>
                  </a:cubicBezTo>
                  <a:lnTo>
                    <a:pt x="1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296"/>
            <p:cNvSpPr>
              <a:spLocks/>
            </p:cNvSpPr>
            <p:nvPr/>
          </p:nvSpPr>
          <p:spPr bwMode="auto">
            <a:xfrm>
              <a:off x="2575" y="3235"/>
              <a:ext cx="173" cy="156"/>
            </a:xfrm>
            <a:custGeom>
              <a:avLst/>
              <a:gdLst>
                <a:gd name="T0" fmla="*/ 73 w 73"/>
                <a:gd name="T1" fmla="*/ 1 h 66"/>
                <a:gd name="T2" fmla="*/ 63 w 73"/>
                <a:gd name="T3" fmla="*/ 0 h 66"/>
                <a:gd name="T4" fmla="*/ 0 w 73"/>
                <a:gd name="T5" fmla="*/ 63 h 66"/>
                <a:gd name="T6" fmla="*/ 8 w 73"/>
                <a:gd name="T7" fmla="*/ 66 h 66"/>
                <a:gd name="T8" fmla="*/ 73 w 73"/>
                <a:gd name="T9" fmla="*/ 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6">
                  <a:moveTo>
                    <a:pt x="73" y="1"/>
                  </a:moveTo>
                  <a:cubicBezTo>
                    <a:pt x="70" y="1"/>
                    <a:pt x="66" y="0"/>
                    <a:pt x="63" y="0"/>
                  </a:cubicBezTo>
                  <a:lnTo>
                    <a:pt x="0" y="63"/>
                  </a:lnTo>
                  <a:cubicBezTo>
                    <a:pt x="3" y="64"/>
                    <a:pt x="5" y="65"/>
                    <a:pt x="8" y="66"/>
                  </a:cubicBezTo>
                  <a:lnTo>
                    <a:pt x="7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297"/>
            <p:cNvSpPr>
              <a:spLocks/>
            </p:cNvSpPr>
            <p:nvPr/>
          </p:nvSpPr>
          <p:spPr bwMode="auto">
            <a:xfrm>
              <a:off x="2743" y="3246"/>
              <a:ext cx="223" cy="202"/>
            </a:xfrm>
            <a:custGeom>
              <a:avLst/>
              <a:gdLst>
                <a:gd name="T0" fmla="*/ 94 w 94"/>
                <a:gd name="T1" fmla="*/ 0 h 85"/>
                <a:gd name="T2" fmla="*/ 82 w 94"/>
                <a:gd name="T3" fmla="*/ 0 h 85"/>
                <a:gd name="T4" fmla="*/ 0 w 94"/>
                <a:gd name="T5" fmla="*/ 82 h 85"/>
                <a:gd name="T6" fmla="*/ 9 w 94"/>
                <a:gd name="T7" fmla="*/ 85 h 85"/>
                <a:gd name="T8" fmla="*/ 94 w 9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5">
                  <a:moveTo>
                    <a:pt x="94" y="0"/>
                  </a:moveTo>
                  <a:cubicBezTo>
                    <a:pt x="90" y="0"/>
                    <a:pt x="86" y="0"/>
                    <a:pt x="82" y="0"/>
                  </a:cubicBezTo>
                  <a:lnTo>
                    <a:pt x="0" y="82"/>
                  </a:lnTo>
                  <a:cubicBezTo>
                    <a:pt x="3" y="83"/>
                    <a:pt x="6" y="84"/>
                    <a:pt x="9" y="85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298"/>
            <p:cNvSpPr>
              <a:spLocks/>
            </p:cNvSpPr>
            <p:nvPr/>
          </p:nvSpPr>
          <p:spPr bwMode="auto">
            <a:xfrm>
              <a:off x="2658" y="3246"/>
              <a:ext cx="194" cy="176"/>
            </a:xfrm>
            <a:custGeom>
              <a:avLst/>
              <a:gdLst>
                <a:gd name="T0" fmla="*/ 82 w 82"/>
                <a:gd name="T1" fmla="*/ 0 h 74"/>
                <a:gd name="T2" fmla="*/ 71 w 82"/>
                <a:gd name="T3" fmla="*/ 0 h 74"/>
                <a:gd name="T4" fmla="*/ 0 w 82"/>
                <a:gd name="T5" fmla="*/ 71 h 74"/>
                <a:gd name="T6" fmla="*/ 8 w 82"/>
                <a:gd name="T7" fmla="*/ 74 h 74"/>
                <a:gd name="T8" fmla="*/ 82 w 82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4">
                  <a:moveTo>
                    <a:pt x="82" y="0"/>
                  </a:moveTo>
                  <a:cubicBezTo>
                    <a:pt x="78" y="0"/>
                    <a:pt x="75" y="0"/>
                    <a:pt x="71" y="0"/>
                  </a:cubicBezTo>
                  <a:lnTo>
                    <a:pt x="0" y="71"/>
                  </a:lnTo>
                  <a:cubicBezTo>
                    <a:pt x="3" y="72"/>
                    <a:pt x="5" y="73"/>
                    <a:pt x="8" y="74"/>
                  </a:cubicBezTo>
                  <a:lnTo>
                    <a:pt x="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Freeform 299"/>
            <p:cNvSpPr>
              <a:spLocks/>
            </p:cNvSpPr>
            <p:nvPr/>
          </p:nvSpPr>
          <p:spPr bwMode="auto">
            <a:xfrm>
              <a:off x="2347" y="3154"/>
              <a:ext cx="133" cy="123"/>
            </a:xfrm>
            <a:custGeom>
              <a:avLst/>
              <a:gdLst>
                <a:gd name="T0" fmla="*/ 56 w 56"/>
                <a:gd name="T1" fmla="*/ 3 h 52"/>
                <a:gd name="T2" fmla="*/ 48 w 56"/>
                <a:gd name="T3" fmla="*/ 0 h 52"/>
                <a:gd name="T4" fmla="*/ 0 w 56"/>
                <a:gd name="T5" fmla="*/ 48 h 52"/>
                <a:gd name="T6" fmla="*/ 7 w 56"/>
                <a:gd name="T7" fmla="*/ 52 h 52"/>
                <a:gd name="T8" fmla="*/ 56 w 56"/>
                <a:gd name="T9" fmla="*/ 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2">
                  <a:moveTo>
                    <a:pt x="56" y="3"/>
                  </a:moveTo>
                  <a:cubicBezTo>
                    <a:pt x="54" y="2"/>
                    <a:pt x="51" y="1"/>
                    <a:pt x="48" y="0"/>
                  </a:cubicBezTo>
                  <a:lnTo>
                    <a:pt x="0" y="48"/>
                  </a:lnTo>
                  <a:cubicBezTo>
                    <a:pt x="3" y="50"/>
                    <a:pt x="5" y="51"/>
                    <a:pt x="7" y="52"/>
                  </a:cubicBezTo>
                  <a:lnTo>
                    <a:pt x="5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Freeform 300"/>
            <p:cNvSpPr>
              <a:spLocks/>
            </p:cNvSpPr>
            <p:nvPr/>
          </p:nvSpPr>
          <p:spPr bwMode="auto">
            <a:xfrm>
              <a:off x="2494" y="3213"/>
              <a:ext cx="159" cy="145"/>
            </a:xfrm>
            <a:custGeom>
              <a:avLst/>
              <a:gdLst>
                <a:gd name="T0" fmla="*/ 67 w 67"/>
                <a:gd name="T1" fmla="*/ 2 h 61"/>
                <a:gd name="T2" fmla="*/ 57 w 67"/>
                <a:gd name="T3" fmla="*/ 0 h 61"/>
                <a:gd name="T4" fmla="*/ 0 w 67"/>
                <a:gd name="T5" fmla="*/ 57 h 61"/>
                <a:gd name="T6" fmla="*/ 8 w 67"/>
                <a:gd name="T7" fmla="*/ 61 h 61"/>
                <a:gd name="T8" fmla="*/ 67 w 67"/>
                <a:gd name="T9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1">
                  <a:moveTo>
                    <a:pt x="67" y="2"/>
                  </a:moveTo>
                  <a:cubicBezTo>
                    <a:pt x="63" y="2"/>
                    <a:pt x="60" y="1"/>
                    <a:pt x="57" y="0"/>
                  </a:cubicBezTo>
                  <a:lnTo>
                    <a:pt x="0" y="57"/>
                  </a:lnTo>
                  <a:cubicBezTo>
                    <a:pt x="3" y="58"/>
                    <a:pt x="6" y="60"/>
                    <a:pt x="8" y="61"/>
                  </a:cubicBezTo>
                  <a:lnTo>
                    <a:pt x="6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Freeform 301"/>
            <p:cNvSpPr>
              <a:spLocks/>
            </p:cNvSpPr>
            <p:nvPr/>
          </p:nvSpPr>
          <p:spPr bwMode="auto">
            <a:xfrm>
              <a:off x="2279" y="3116"/>
              <a:ext cx="125" cy="119"/>
            </a:xfrm>
            <a:custGeom>
              <a:avLst/>
              <a:gdLst>
                <a:gd name="T0" fmla="*/ 53 w 53"/>
                <a:gd name="T1" fmla="*/ 4 h 50"/>
                <a:gd name="T2" fmla="*/ 45 w 53"/>
                <a:gd name="T3" fmla="*/ 0 h 50"/>
                <a:gd name="T4" fmla="*/ 0 w 53"/>
                <a:gd name="T5" fmla="*/ 45 h 50"/>
                <a:gd name="T6" fmla="*/ 7 w 53"/>
                <a:gd name="T7" fmla="*/ 50 h 50"/>
                <a:gd name="T8" fmla="*/ 53 w 53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0">
                  <a:moveTo>
                    <a:pt x="53" y="4"/>
                  </a:moveTo>
                  <a:cubicBezTo>
                    <a:pt x="50" y="2"/>
                    <a:pt x="48" y="1"/>
                    <a:pt x="45" y="0"/>
                  </a:cubicBezTo>
                  <a:lnTo>
                    <a:pt x="0" y="45"/>
                  </a:lnTo>
                  <a:cubicBezTo>
                    <a:pt x="2" y="47"/>
                    <a:pt x="5" y="48"/>
                    <a:pt x="7" y="50"/>
                  </a:cubicBezTo>
                  <a:lnTo>
                    <a:pt x="53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Freeform 302"/>
            <p:cNvSpPr>
              <a:spLocks/>
            </p:cNvSpPr>
            <p:nvPr/>
          </p:nvSpPr>
          <p:spPr bwMode="auto">
            <a:xfrm>
              <a:off x="1795" y="540"/>
              <a:ext cx="2713" cy="2732"/>
            </a:xfrm>
            <a:custGeom>
              <a:avLst/>
              <a:gdLst>
                <a:gd name="T0" fmla="*/ 1145 w 1145"/>
                <a:gd name="T1" fmla="*/ 7 h 1152"/>
                <a:gd name="T2" fmla="*/ 1141 w 1145"/>
                <a:gd name="T3" fmla="*/ 0 h 1152"/>
                <a:gd name="T4" fmla="*/ 0 w 1145"/>
                <a:gd name="T5" fmla="*/ 1142 h 1152"/>
                <a:gd name="T6" fmla="*/ 2 w 1145"/>
                <a:gd name="T7" fmla="*/ 1152 h 1152"/>
                <a:gd name="T8" fmla="*/ 1145 w 1145"/>
                <a:gd name="T9" fmla="*/ 7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5" h="1152">
                  <a:moveTo>
                    <a:pt x="1145" y="7"/>
                  </a:moveTo>
                  <a:cubicBezTo>
                    <a:pt x="1144" y="5"/>
                    <a:pt x="1142" y="3"/>
                    <a:pt x="1141" y="0"/>
                  </a:cubicBezTo>
                  <a:lnTo>
                    <a:pt x="0" y="1142"/>
                  </a:lnTo>
                  <a:cubicBezTo>
                    <a:pt x="1" y="1146"/>
                    <a:pt x="2" y="1149"/>
                    <a:pt x="2" y="1152"/>
                  </a:cubicBezTo>
                  <a:lnTo>
                    <a:pt x="1145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Freeform 303"/>
            <p:cNvSpPr>
              <a:spLocks/>
            </p:cNvSpPr>
            <p:nvPr/>
          </p:nvSpPr>
          <p:spPr bwMode="auto">
            <a:xfrm>
              <a:off x="3707" y="2528"/>
              <a:ext cx="860" cy="863"/>
            </a:xfrm>
            <a:custGeom>
              <a:avLst/>
              <a:gdLst>
                <a:gd name="T0" fmla="*/ 356 w 363"/>
                <a:gd name="T1" fmla="*/ 19 h 364"/>
                <a:gd name="T2" fmla="*/ 363 w 363"/>
                <a:gd name="T3" fmla="*/ 0 h 364"/>
                <a:gd name="T4" fmla="*/ 0 w 363"/>
                <a:gd name="T5" fmla="*/ 364 h 364"/>
                <a:gd name="T6" fmla="*/ 18 w 363"/>
                <a:gd name="T7" fmla="*/ 357 h 364"/>
                <a:gd name="T8" fmla="*/ 356 w 363"/>
                <a:gd name="T9" fmla="*/ 1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64">
                  <a:moveTo>
                    <a:pt x="356" y="19"/>
                  </a:moveTo>
                  <a:cubicBezTo>
                    <a:pt x="358" y="13"/>
                    <a:pt x="361" y="6"/>
                    <a:pt x="363" y="0"/>
                  </a:cubicBezTo>
                  <a:lnTo>
                    <a:pt x="0" y="364"/>
                  </a:lnTo>
                  <a:cubicBezTo>
                    <a:pt x="6" y="362"/>
                    <a:pt x="12" y="359"/>
                    <a:pt x="18" y="357"/>
                  </a:cubicBezTo>
                  <a:lnTo>
                    <a:pt x="35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304"/>
            <p:cNvSpPr>
              <a:spLocks/>
            </p:cNvSpPr>
            <p:nvPr/>
          </p:nvSpPr>
          <p:spPr bwMode="auto">
            <a:xfrm>
              <a:off x="3927" y="2751"/>
              <a:ext cx="534" cy="531"/>
            </a:xfrm>
            <a:custGeom>
              <a:avLst/>
              <a:gdLst>
                <a:gd name="T0" fmla="*/ 205 w 225"/>
                <a:gd name="T1" fmla="*/ 31 h 224"/>
                <a:gd name="T2" fmla="*/ 225 w 225"/>
                <a:gd name="T3" fmla="*/ 0 h 224"/>
                <a:gd name="T4" fmla="*/ 0 w 225"/>
                <a:gd name="T5" fmla="*/ 224 h 224"/>
                <a:gd name="T6" fmla="*/ 31 w 225"/>
                <a:gd name="T7" fmla="*/ 205 h 224"/>
                <a:gd name="T8" fmla="*/ 205 w 225"/>
                <a:gd name="T9" fmla="*/ 3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4">
                  <a:moveTo>
                    <a:pt x="205" y="31"/>
                  </a:moveTo>
                  <a:cubicBezTo>
                    <a:pt x="212" y="21"/>
                    <a:pt x="218" y="10"/>
                    <a:pt x="225" y="0"/>
                  </a:cubicBezTo>
                  <a:lnTo>
                    <a:pt x="0" y="224"/>
                  </a:lnTo>
                  <a:cubicBezTo>
                    <a:pt x="11" y="218"/>
                    <a:pt x="21" y="212"/>
                    <a:pt x="31" y="205"/>
                  </a:cubicBezTo>
                  <a:lnTo>
                    <a:pt x="20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Freeform 305"/>
            <p:cNvSpPr>
              <a:spLocks/>
            </p:cNvSpPr>
            <p:nvPr/>
          </p:nvSpPr>
          <p:spPr bwMode="auto">
            <a:xfrm>
              <a:off x="3537" y="2357"/>
              <a:ext cx="1087" cy="1089"/>
            </a:xfrm>
            <a:custGeom>
              <a:avLst/>
              <a:gdLst>
                <a:gd name="T0" fmla="*/ 454 w 459"/>
                <a:gd name="T1" fmla="*/ 16 h 459"/>
                <a:gd name="T2" fmla="*/ 459 w 459"/>
                <a:gd name="T3" fmla="*/ 0 h 459"/>
                <a:gd name="T4" fmla="*/ 0 w 459"/>
                <a:gd name="T5" fmla="*/ 459 h 459"/>
                <a:gd name="T6" fmla="*/ 16 w 459"/>
                <a:gd name="T7" fmla="*/ 455 h 459"/>
                <a:gd name="T8" fmla="*/ 454 w 459"/>
                <a:gd name="T9" fmla="*/ 1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9" h="459">
                  <a:moveTo>
                    <a:pt x="454" y="16"/>
                  </a:moveTo>
                  <a:cubicBezTo>
                    <a:pt x="456" y="11"/>
                    <a:pt x="457" y="5"/>
                    <a:pt x="459" y="0"/>
                  </a:cubicBezTo>
                  <a:lnTo>
                    <a:pt x="0" y="459"/>
                  </a:lnTo>
                  <a:cubicBezTo>
                    <a:pt x="6" y="458"/>
                    <a:pt x="11" y="456"/>
                    <a:pt x="16" y="455"/>
                  </a:cubicBezTo>
                  <a:lnTo>
                    <a:pt x="45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Freeform 306"/>
            <p:cNvSpPr>
              <a:spLocks/>
            </p:cNvSpPr>
            <p:nvPr/>
          </p:nvSpPr>
          <p:spPr bwMode="auto">
            <a:xfrm>
              <a:off x="3392" y="2212"/>
              <a:ext cx="1263" cy="1264"/>
            </a:xfrm>
            <a:custGeom>
              <a:avLst/>
              <a:gdLst>
                <a:gd name="T0" fmla="*/ 530 w 533"/>
                <a:gd name="T1" fmla="*/ 14 h 533"/>
                <a:gd name="T2" fmla="*/ 533 w 533"/>
                <a:gd name="T3" fmla="*/ 0 h 533"/>
                <a:gd name="T4" fmla="*/ 0 w 533"/>
                <a:gd name="T5" fmla="*/ 533 h 533"/>
                <a:gd name="T6" fmla="*/ 14 w 533"/>
                <a:gd name="T7" fmla="*/ 531 h 533"/>
                <a:gd name="T8" fmla="*/ 530 w 533"/>
                <a:gd name="T9" fmla="*/ 14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533">
                  <a:moveTo>
                    <a:pt x="530" y="14"/>
                  </a:moveTo>
                  <a:cubicBezTo>
                    <a:pt x="531" y="9"/>
                    <a:pt x="532" y="5"/>
                    <a:pt x="533" y="0"/>
                  </a:cubicBezTo>
                  <a:lnTo>
                    <a:pt x="0" y="533"/>
                  </a:lnTo>
                  <a:cubicBezTo>
                    <a:pt x="5" y="533"/>
                    <a:pt x="9" y="532"/>
                    <a:pt x="14" y="531"/>
                  </a:cubicBezTo>
                  <a:lnTo>
                    <a:pt x="53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307"/>
            <p:cNvSpPr>
              <a:spLocks/>
            </p:cNvSpPr>
            <p:nvPr/>
          </p:nvSpPr>
          <p:spPr bwMode="auto">
            <a:xfrm>
              <a:off x="2932" y="3189"/>
              <a:ext cx="318" cy="295"/>
            </a:xfrm>
            <a:custGeom>
              <a:avLst/>
              <a:gdLst>
                <a:gd name="T0" fmla="*/ 134 w 134"/>
                <a:gd name="T1" fmla="*/ 0 h 124"/>
                <a:gd name="T2" fmla="*/ 118 w 134"/>
                <a:gd name="T3" fmla="*/ 5 h 124"/>
                <a:gd name="T4" fmla="*/ 0 w 134"/>
                <a:gd name="T5" fmla="*/ 123 h 124"/>
                <a:gd name="T6" fmla="*/ 10 w 134"/>
                <a:gd name="T7" fmla="*/ 124 h 124"/>
                <a:gd name="T8" fmla="*/ 134 w 13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24">
                  <a:moveTo>
                    <a:pt x="134" y="0"/>
                  </a:moveTo>
                  <a:cubicBezTo>
                    <a:pt x="129" y="2"/>
                    <a:pt x="123" y="4"/>
                    <a:pt x="118" y="5"/>
                  </a:cubicBezTo>
                  <a:lnTo>
                    <a:pt x="0" y="123"/>
                  </a:lnTo>
                  <a:cubicBezTo>
                    <a:pt x="3" y="124"/>
                    <a:pt x="7" y="124"/>
                    <a:pt x="10" y="124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308"/>
            <p:cNvSpPr>
              <a:spLocks/>
            </p:cNvSpPr>
            <p:nvPr/>
          </p:nvSpPr>
          <p:spPr bwMode="auto">
            <a:xfrm>
              <a:off x="3034" y="3085"/>
              <a:ext cx="434" cy="410"/>
            </a:xfrm>
            <a:custGeom>
              <a:avLst/>
              <a:gdLst>
                <a:gd name="T0" fmla="*/ 183 w 183"/>
                <a:gd name="T1" fmla="*/ 0 h 173"/>
                <a:gd name="T2" fmla="*/ 156 w 183"/>
                <a:gd name="T3" fmla="*/ 16 h 173"/>
                <a:gd name="T4" fmla="*/ 0 w 183"/>
                <a:gd name="T5" fmla="*/ 172 h 173"/>
                <a:gd name="T6" fmla="*/ 11 w 183"/>
                <a:gd name="T7" fmla="*/ 173 h 173"/>
                <a:gd name="T8" fmla="*/ 183 w 18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73">
                  <a:moveTo>
                    <a:pt x="183" y="0"/>
                  </a:moveTo>
                  <a:cubicBezTo>
                    <a:pt x="174" y="6"/>
                    <a:pt x="165" y="11"/>
                    <a:pt x="156" y="16"/>
                  </a:cubicBezTo>
                  <a:lnTo>
                    <a:pt x="0" y="172"/>
                  </a:lnTo>
                  <a:cubicBezTo>
                    <a:pt x="4" y="172"/>
                    <a:pt x="7" y="172"/>
                    <a:pt x="11" y="173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309"/>
            <p:cNvSpPr>
              <a:spLocks/>
            </p:cNvSpPr>
            <p:nvPr/>
          </p:nvSpPr>
          <p:spPr bwMode="auto">
            <a:xfrm>
              <a:off x="3264" y="2084"/>
              <a:ext cx="1405" cy="1409"/>
            </a:xfrm>
            <a:custGeom>
              <a:avLst/>
              <a:gdLst>
                <a:gd name="T0" fmla="*/ 592 w 593"/>
                <a:gd name="T1" fmla="*/ 12 h 594"/>
                <a:gd name="T2" fmla="*/ 593 w 593"/>
                <a:gd name="T3" fmla="*/ 0 h 594"/>
                <a:gd name="T4" fmla="*/ 0 w 593"/>
                <a:gd name="T5" fmla="*/ 594 h 594"/>
                <a:gd name="T6" fmla="*/ 12 w 593"/>
                <a:gd name="T7" fmla="*/ 593 h 594"/>
                <a:gd name="T8" fmla="*/ 592 w 593"/>
                <a:gd name="T9" fmla="*/ 12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3" h="594">
                  <a:moveTo>
                    <a:pt x="592" y="12"/>
                  </a:moveTo>
                  <a:cubicBezTo>
                    <a:pt x="592" y="8"/>
                    <a:pt x="592" y="4"/>
                    <a:pt x="593" y="0"/>
                  </a:cubicBezTo>
                  <a:lnTo>
                    <a:pt x="0" y="594"/>
                  </a:lnTo>
                  <a:cubicBezTo>
                    <a:pt x="4" y="593"/>
                    <a:pt x="8" y="593"/>
                    <a:pt x="12" y="593"/>
                  </a:cubicBezTo>
                  <a:lnTo>
                    <a:pt x="59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Freeform 310"/>
            <p:cNvSpPr>
              <a:spLocks/>
            </p:cNvSpPr>
            <p:nvPr/>
          </p:nvSpPr>
          <p:spPr bwMode="auto">
            <a:xfrm>
              <a:off x="2421" y="3187"/>
              <a:ext cx="142" cy="133"/>
            </a:xfrm>
            <a:custGeom>
              <a:avLst/>
              <a:gdLst>
                <a:gd name="T0" fmla="*/ 60 w 60"/>
                <a:gd name="T1" fmla="*/ 3 h 56"/>
                <a:gd name="T2" fmla="*/ 52 w 60"/>
                <a:gd name="T3" fmla="*/ 0 h 56"/>
                <a:gd name="T4" fmla="*/ 0 w 60"/>
                <a:gd name="T5" fmla="*/ 52 h 56"/>
                <a:gd name="T6" fmla="*/ 7 w 60"/>
                <a:gd name="T7" fmla="*/ 56 h 56"/>
                <a:gd name="T8" fmla="*/ 60 w 60"/>
                <a:gd name="T9" fmla="*/ 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6">
                  <a:moveTo>
                    <a:pt x="60" y="3"/>
                  </a:moveTo>
                  <a:cubicBezTo>
                    <a:pt x="57" y="2"/>
                    <a:pt x="54" y="1"/>
                    <a:pt x="52" y="0"/>
                  </a:cubicBezTo>
                  <a:lnTo>
                    <a:pt x="0" y="52"/>
                  </a:lnTo>
                  <a:cubicBezTo>
                    <a:pt x="2" y="53"/>
                    <a:pt x="5" y="55"/>
                    <a:pt x="7" y="56"/>
                  </a:cubicBez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Freeform 311"/>
            <p:cNvSpPr>
              <a:spLocks/>
            </p:cNvSpPr>
            <p:nvPr/>
          </p:nvSpPr>
          <p:spPr bwMode="auto">
            <a:xfrm>
              <a:off x="3809" y="1857"/>
              <a:ext cx="860" cy="887"/>
            </a:xfrm>
            <a:custGeom>
              <a:avLst/>
              <a:gdLst>
                <a:gd name="T0" fmla="*/ 363 w 363"/>
                <a:gd name="T1" fmla="*/ 10 h 374"/>
                <a:gd name="T2" fmla="*/ 363 w 363"/>
                <a:gd name="T3" fmla="*/ 0 h 374"/>
                <a:gd name="T4" fmla="*/ 16 w 363"/>
                <a:gd name="T5" fmla="*/ 347 h 374"/>
                <a:gd name="T6" fmla="*/ 0 w 363"/>
                <a:gd name="T7" fmla="*/ 374 h 374"/>
                <a:gd name="T8" fmla="*/ 363 w 363"/>
                <a:gd name="T9" fmla="*/ 1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3" h="374">
                  <a:moveTo>
                    <a:pt x="363" y="10"/>
                  </a:moveTo>
                  <a:cubicBezTo>
                    <a:pt x="363" y="7"/>
                    <a:pt x="363" y="3"/>
                    <a:pt x="363" y="0"/>
                  </a:cubicBezTo>
                  <a:lnTo>
                    <a:pt x="16" y="347"/>
                  </a:lnTo>
                  <a:cubicBezTo>
                    <a:pt x="11" y="356"/>
                    <a:pt x="5" y="366"/>
                    <a:pt x="0" y="374"/>
                  </a:cubicBezTo>
                  <a:lnTo>
                    <a:pt x="36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12"/>
            <p:cNvSpPr>
              <a:spLocks/>
            </p:cNvSpPr>
            <p:nvPr/>
          </p:nvSpPr>
          <p:spPr bwMode="auto">
            <a:xfrm>
              <a:off x="2215" y="3073"/>
              <a:ext cx="116" cy="114"/>
            </a:xfrm>
            <a:custGeom>
              <a:avLst/>
              <a:gdLst>
                <a:gd name="T0" fmla="*/ 49 w 49"/>
                <a:gd name="T1" fmla="*/ 4 h 48"/>
                <a:gd name="T2" fmla="*/ 42 w 49"/>
                <a:gd name="T3" fmla="*/ 0 h 48"/>
                <a:gd name="T4" fmla="*/ 0 w 49"/>
                <a:gd name="T5" fmla="*/ 43 h 48"/>
                <a:gd name="T6" fmla="*/ 6 w 49"/>
                <a:gd name="T7" fmla="*/ 48 h 48"/>
                <a:gd name="T8" fmla="*/ 49 w 49"/>
                <a:gd name="T9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9" y="4"/>
                  </a:moveTo>
                  <a:cubicBezTo>
                    <a:pt x="47" y="3"/>
                    <a:pt x="45" y="1"/>
                    <a:pt x="42" y="0"/>
                  </a:cubicBezTo>
                  <a:lnTo>
                    <a:pt x="0" y="43"/>
                  </a:lnTo>
                  <a:cubicBezTo>
                    <a:pt x="2" y="44"/>
                    <a:pt x="4" y="46"/>
                    <a:pt x="6" y="48"/>
                  </a:cubicBezTo>
                  <a:lnTo>
                    <a:pt x="4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313"/>
            <p:cNvSpPr>
              <a:spLocks/>
            </p:cNvSpPr>
            <p:nvPr/>
          </p:nvSpPr>
          <p:spPr bwMode="auto">
            <a:xfrm>
              <a:off x="3970" y="1565"/>
              <a:ext cx="652" cy="676"/>
            </a:xfrm>
            <a:custGeom>
              <a:avLst/>
              <a:gdLst>
                <a:gd name="T0" fmla="*/ 0 w 275"/>
                <a:gd name="T1" fmla="*/ 273 h 285"/>
                <a:gd name="T2" fmla="*/ 0 w 275"/>
                <a:gd name="T3" fmla="*/ 285 h 285"/>
                <a:gd name="T4" fmla="*/ 275 w 275"/>
                <a:gd name="T5" fmla="*/ 9 h 285"/>
                <a:gd name="T6" fmla="*/ 273 w 275"/>
                <a:gd name="T7" fmla="*/ 0 h 285"/>
                <a:gd name="T8" fmla="*/ 0 w 275"/>
                <a:gd name="T9" fmla="*/ 27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5" h="285">
                  <a:moveTo>
                    <a:pt x="0" y="273"/>
                  </a:moveTo>
                  <a:cubicBezTo>
                    <a:pt x="0" y="277"/>
                    <a:pt x="0" y="281"/>
                    <a:pt x="0" y="285"/>
                  </a:cubicBezTo>
                  <a:lnTo>
                    <a:pt x="275" y="9"/>
                  </a:lnTo>
                  <a:cubicBezTo>
                    <a:pt x="275" y="6"/>
                    <a:pt x="274" y="3"/>
                    <a:pt x="273" y="0"/>
                  </a:cubicBezTo>
                  <a:lnTo>
                    <a:pt x="0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314"/>
            <p:cNvSpPr>
              <a:spLocks/>
            </p:cNvSpPr>
            <p:nvPr/>
          </p:nvSpPr>
          <p:spPr bwMode="auto">
            <a:xfrm>
              <a:off x="3968" y="1477"/>
              <a:ext cx="630" cy="648"/>
            </a:xfrm>
            <a:custGeom>
              <a:avLst/>
              <a:gdLst>
                <a:gd name="T0" fmla="*/ 0 w 266"/>
                <a:gd name="T1" fmla="*/ 263 h 273"/>
                <a:gd name="T2" fmla="*/ 1 w 266"/>
                <a:gd name="T3" fmla="*/ 273 h 273"/>
                <a:gd name="T4" fmla="*/ 266 w 266"/>
                <a:gd name="T5" fmla="*/ 8 h 273"/>
                <a:gd name="T6" fmla="*/ 263 w 266"/>
                <a:gd name="T7" fmla="*/ 0 h 273"/>
                <a:gd name="T8" fmla="*/ 0 w 266"/>
                <a:gd name="T9" fmla="*/ 26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273">
                  <a:moveTo>
                    <a:pt x="0" y="263"/>
                  </a:moveTo>
                  <a:cubicBezTo>
                    <a:pt x="0" y="266"/>
                    <a:pt x="1" y="270"/>
                    <a:pt x="1" y="273"/>
                  </a:cubicBezTo>
                  <a:lnTo>
                    <a:pt x="266" y="8"/>
                  </a:lnTo>
                  <a:cubicBezTo>
                    <a:pt x="265" y="6"/>
                    <a:pt x="264" y="3"/>
                    <a:pt x="263" y="0"/>
                  </a:cubicBezTo>
                  <a:lnTo>
                    <a:pt x="0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315"/>
            <p:cNvSpPr>
              <a:spLocks/>
            </p:cNvSpPr>
            <p:nvPr/>
          </p:nvSpPr>
          <p:spPr bwMode="auto">
            <a:xfrm>
              <a:off x="3954" y="1655"/>
              <a:ext cx="689" cy="716"/>
            </a:xfrm>
            <a:custGeom>
              <a:avLst/>
              <a:gdLst>
                <a:gd name="T0" fmla="*/ 0 w 291"/>
                <a:gd name="T1" fmla="*/ 302 h 302"/>
                <a:gd name="T2" fmla="*/ 291 w 291"/>
                <a:gd name="T3" fmla="*/ 10 h 302"/>
                <a:gd name="T4" fmla="*/ 290 w 291"/>
                <a:gd name="T5" fmla="*/ 5 h 302"/>
                <a:gd name="T6" fmla="*/ 289 w 291"/>
                <a:gd name="T7" fmla="*/ 0 h 302"/>
                <a:gd name="T8" fmla="*/ 2 w 291"/>
                <a:gd name="T9" fmla="*/ 288 h 302"/>
                <a:gd name="T10" fmla="*/ 0 w 291"/>
                <a:gd name="T11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302">
                  <a:moveTo>
                    <a:pt x="0" y="302"/>
                  </a:moveTo>
                  <a:lnTo>
                    <a:pt x="291" y="10"/>
                  </a:lnTo>
                  <a:cubicBezTo>
                    <a:pt x="291" y="8"/>
                    <a:pt x="291" y="7"/>
                    <a:pt x="290" y="5"/>
                  </a:cubicBezTo>
                  <a:cubicBezTo>
                    <a:pt x="290" y="3"/>
                    <a:pt x="290" y="2"/>
                    <a:pt x="289" y="0"/>
                  </a:cubicBezTo>
                  <a:lnTo>
                    <a:pt x="2" y="288"/>
                  </a:lnTo>
                  <a:cubicBezTo>
                    <a:pt x="2" y="293"/>
                    <a:pt x="1" y="297"/>
                    <a:pt x="0" y="3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16"/>
            <p:cNvSpPr>
              <a:spLocks/>
            </p:cNvSpPr>
            <p:nvPr/>
          </p:nvSpPr>
          <p:spPr bwMode="auto">
            <a:xfrm>
              <a:off x="1824" y="619"/>
              <a:ext cx="2715" cy="2736"/>
            </a:xfrm>
            <a:custGeom>
              <a:avLst/>
              <a:gdLst>
                <a:gd name="T0" fmla="*/ 1146 w 1146"/>
                <a:gd name="T1" fmla="*/ 9 h 1154"/>
                <a:gd name="T2" fmla="*/ 1144 w 1146"/>
                <a:gd name="T3" fmla="*/ 0 h 1154"/>
                <a:gd name="T4" fmla="*/ 0 w 1146"/>
                <a:gd name="T5" fmla="*/ 1146 h 1154"/>
                <a:gd name="T6" fmla="*/ 4 w 1146"/>
                <a:gd name="T7" fmla="*/ 1154 h 1154"/>
                <a:gd name="T8" fmla="*/ 1146 w 1146"/>
                <a:gd name="T9" fmla="*/ 9 h 1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1154">
                  <a:moveTo>
                    <a:pt x="1146" y="9"/>
                  </a:moveTo>
                  <a:cubicBezTo>
                    <a:pt x="1146" y="6"/>
                    <a:pt x="1145" y="3"/>
                    <a:pt x="1144" y="0"/>
                  </a:cubicBezTo>
                  <a:lnTo>
                    <a:pt x="0" y="1146"/>
                  </a:lnTo>
                  <a:cubicBezTo>
                    <a:pt x="1" y="1149"/>
                    <a:pt x="2" y="1151"/>
                    <a:pt x="4" y="1154"/>
                  </a:cubicBezTo>
                  <a:lnTo>
                    <a:pt x="114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17"/>
            <p:cNvSpPr>
              <a:spLocks/>
            </p:cNvSpPr>
            <p:nvPr/>
          </p:nvSpPr>
          <p:spPr bwMode="auto">
            <a:xfrm>
              <a:off x="1873" y="721"/>
              <a:ext cx="2673" cy="2689"/>
            </a:xfrm>
            <a:custGeom>
              <a:avLst/>
              <a:gdLst>
                <a:gd name="T0" fmla="*/ 1128 w 1128"/>
                <a:gd name="T1" fmla="*/ 12 h 1134"/>
                <a:gd name="T2" fmla="*/ 1128 w 1128"/>
                <a:gd name="T3" fmla="*/ 0 h 1134"/>
                <a:gd name="T4" fmla="*/ 0 w 1128"/>
                <a:gd name="T5" fmla="*/ 1130 h 1134"/>
                <a:gd name="T6" fmla="*/ 7 w 1128"/>
                <a:gd name="T7" fmla="*/ 1134 h 1134"/>
                <a:gd name="T8" fmla="*/ 1128 w 1128"/>
                <a:gd name="T9" fmla="*/ 1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8" h="1134">
                  <a:moveTo>
                    <a:pt x="1128" y="12"/>
                  </a:moveTo>
                  <a:cubicBezTo>
                    <a:pt x="1128" y="8"/>
                    <a:pt x="1128" y="4"/>
                    <a:pt x="1128" y="0"/>
                  </a:cubicBezTo>
                  <a:lnTo>
                    <a:pt x="0" y="1130"/>
                  </a:lnTo>
                  <a:cubicBezTo>
                    <a:pt x="2" y="1132"/>
                    <a:pt x="5" y="1133"/>
                    <a:pt x="7" y="1134"/>
                  </a:cubicBezTo>
                  <a:lnTo>
                    <a:pt x="112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18"/>
            <p:cNvSpPr>
              <a:spLocks/>
            </p:cNvSpPr>
            <p:nvPr/>
          </p:nvSpPr>
          <p:spPr bwMode="auto">
            <a:xfrm>
              <a:off x="3913" y="1752"/>
              <a:ext cx="747" cy="773"/>
            </a:xfrm>
            <a:custGeom>
              <a:avLst/>
              <a:gdLst>
                <a:gd name="T0" fmla="*/ 5 w 315"/>
                <a:gd name="T1" fmla="*/ 309 h 326"/>
                <a:gd name="T2" fmla="*/ 0 w 315"/>
                <a:gd name="T3" fmla="*/ 326 h 326"/>
                <a:gd name="T4" fmla="*/ 315 w 315"/>
                <a:gd name="T5" fmla="*/ 10 h 326"/>
                <a:gd name="T6" fmla="*/ 314 w 315"/>
                <a:gd name="T7" fmla="*/ 0 h 326"/>
                <a:gd name="T8" fmla="*/ 5 w 315"/>
                <a:gd name="T9" fmla="*/ 30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" h="326">
                  <a:moveTo>
                    <a:pt x="5" y="309"/>
                  </a:moveTo>
                  <a:cubicBezTo>
                    <a:pt x="4" y="315"/>
                    <a:pt x="2" y="320"/>
                    <a:pt x="0" y="326"/>
                  </a:cubicBezTo>
                  <a:lnTo>
                    <a:pt x="315" y="10"/>
                  </a:lnTo>
                  <a:cubicBezTo>
                    <a:pt x="315" y="7"/>
                    <a:pt x="314" y="4"/>
                    <a:pt x="314" y="0"/>
                  </a:cubicBezTo>
                  <a:lnTo>
                    <a:pt x="5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19"/>
            <p:cNvSpPr>
              <a:spLocks/>
            </p:cNvSpPr>
            <p:nvPr/>
          </p:nvSpPr>
          <p:spPr bwMode="auto">
            <a:xfrm>
              <a:off x="3956" y="1394"/>
              <a:ext cx="611" cy="629"/>
            </a:xfrm>
            <a:custGeom>
              <a:avLst/>
              <a:gdLst>
                <a:gd name="T0" fmla="*/ 0 w 258"/>
                <a:gd name="T1" fmla="*/ 255 h 265"/>
                <a:gd name="T2" fmla="*/ 2 w 258"/>
                <a:gd name="T3" fmla="*/ 265 h 265"/>
                <a:gd name="T4" fmla="*/ 258 w 258"/>
                <a:gd name="T5" fmla="*/ 8 h 265"/>
                <a:gd name="T6" fmla="*/ 255 w 258"/>
                <a:gd name="T7" fmla="*/ 0 h 265"/>
                <a:gd name="T8" fmla="*/ 0 w 258"/>
                <a:gd name="T9" fmla="*/ 25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265">
                  <a:moveTo>
                    <a:pt x="0" y="255"/>
                  </a:moveTo>
                  <a:cubicBezTo>
                    <a:pt x="0" y="258"/>
                    <a:pt x="1" y="261"/>
                    <a:pt x="2" y="265"/>
                  </a:cubicBezTo>
                  <a:lnTo>
                    <a:pt x="258" y="8"/>
                  </a:lnTo>
                  <a:cubicBezTo>
                    <a:pt x="257" y="5"/>
                    <a:pt x="256" y="3"/>
                    <a:pt x="255" y="0"/>
                  </a:cubicBezTo>
                  <a:lnTo>
                    <a:pt x="0" y="2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20"/>
            <p:cNvSpPr>
              <a:spLocks/>
            </p:cNvSpPr>
            <p:nvPr/>
          </p:nvSpPr>
          <p:spPr bwMode="auto">
            <a:xfrm>
              <a:off x="3795" y="1034"/>
              <a:ext cx="566" cy="571"/>
            </a:xfrm>
            <a:custGeom>
              <a:avLst/>
              <a:gdLst>
                <a:gd name="T0" fmla="*/ 0 w 239"/>
                <a:gd name="T1" fmla="*/ 234 h 241"/>
                <a:gd name="T2" fmla="*/ 4 w 239"/>
                <a:gd name="T3" fmla="*/ 241 h 241"/>
                <a:gd name="T4" fmla="*/ 239 w 239"/>
                <a:gd name="T5" fmla="*/ 6 h 241"/>
                <a:gd name="T6" fmla="*/ 234 w 239"/>
                <a:gd name="T7" fmla="*/ 0 h 241"/>
                <a:gd name="T8" fmla="*/ 0 w 239"/>
                <a:gd name="T9" fmla="*/ 23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241">
                  <a:moveTo>
                    <a:pt x="0" y="234"/>
                  </a:moveTo>
                  <a:cubicBezTo>
                    <a:pt x="2" y="236"/>
                    <a:pt x="3" y="239"/>
                    <a:pt x="4" y="241"/>
                  </a:cubicBezTo>
                  <a:lnTo>
                    <a:pt x="239" y="6"/>
                  </a:lnTo>
                  <a:cubicBezTo>
                    <a:pt x="237" y="4"/>
                    <a:pt x="236" y="2"/>
                    <a:pt x="234" y="0"/>
                  </a:cubicBezTo>
                  <a:lnTo>
                    <a:pt x="0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21"/>
            <p:cNvSpPr>
              <a:spLocks/>
            </p:cNvSpPr>
            <p:nvPr/>
          </p:nvSpPr>
          <p:spPr bwMode="auto">
            <a:xfrm>
              <a:off x="3875" y="1167"/>
              <a:ext cx="578" cy="588"/>
            </a:xfrm>
            <a:custGeom>
              <a:avLst/>
              <a:gdLst>
                <a:gd name="T0" fmla="*/ 0 w 244"/>
                <a:gd name="T1" fmla="*/ 240 h 248"/>
                <a:gd name="T2" fmla="*/ 4 w 244"/>
                <a:gd name="T3" fmla="*/ 248 h 248"/>
                <a:gd name="T4" fmla="*/ 244 w 244"/>
                <a:gd name="T5" fmla="*/ 7 h 248"/>
                <a:gd name="T6" fmla="*/ 240 w 244"/>
                <a:gd name="T7" fmla="*/ 0 h 248"/>
                <a:gd name="T8" fmla="*/ 0 w 244"/>
                <a:gd name="T9" fmla="*/ 2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8">
                  <a:moveTo>
                    <a:pt x="0" y="240"/>
                  </a:moveTo>
                  <a:cubicBezTo>
                    <a:pt x="1" y="243"/>
                    <a:pt x="3" y="245"/>
                    <a:pt x="4" y="248"/>
                  </a:cubicBezTo>
                  <a:lnTo>
                    <a:pt x="244" y="7"/>
                  </a:lnTo>
                  <a:cubicBezTo>
                    <a:pt x="243" y="5"/>
                    <a:pt x="241" y="3"/>
                    <a:pt x="240" y="0"/>
                  </a:cubicBezTo>
                  <a:lnTo>
                    <a:pt x="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22"/>
            <p:cNvSpPr>
              <a:spLocks/>
            </p:cNvSpPr>
            <p:nvPr/>
          </p:nvSpPr>
          <p:spPr bwMode="auto">
            <a:xfrm>
              <a:off x="3837" y="1098"/>
              <a:ext cx="571" cy="578"/>
            </a:xfrm>
            <a:custGeom>
              <a:avLst/>
              <a:gdLst>
                <a:gd name="T0" fmla="*/ 0 w 241"/>
                <a:gd name="T1" fmla="*/ 237 h 244"/>
                <a:gd name="T2" fmla="*/ 4 w 241"/>
                <a:gd name="T3" fmla="*/ 244 h 244"/>
                <a:gd name="T4" fmla="*/ 241 w 241"/>
                <a:gd name="T5" fmla="*/ 7 h 244"/>
                <a:gd name="T6" fmla="*/ 237 w 241"/>
                <a:gd name="T7" fmla="*/ 0 h 244"/>
                <a:gd name="T8" fmla="*/ 0 w 241"/>
                <a:gd name="T9" fmla="*/ 23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44">
                  <a:moveTo>
                    <a:pt x="0" y="237"/>
                  </a:moveTo>
                  <a:cubicBezTo>
                    <a:pt x="2" y="239"/>
                    <a:pt x="3" y="242"/>
                    <a:pt x="4" y="244"/>
                  </a:cubicBezTo>
                  <a:lnTo>
                    <a:pt x="241" y="7"/>
                  </a:lnTo>
                  <a:cubicBezTo>
                    <a:pt x="240" y="5"/>
                    <a:pt x="238" y="3"/>
                    <a:pt x="237" y="0"/>
                  </a:cubicBezTo>
                  <a:lnTo>
                    <a:pt x="0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23"/>
            <p:cNvSpPr>
              <a:spLocks/>
            </p:cNvSpPr>
            <p:nvPr/>
          </p:nvSpPr>
          <p:spPr bwMode="auto">
            <a:xfrm>
              <a:off x="3935" y="1316"/>
              <a:ext cx="597" cy="609"/>
            </a:xfrm>
            <a:custGeom>
              <a:avLst/>
              <a:gdLst>
                <a:gd name="T0" fmla="*/ 0 w 252"/>
                <a:gd name="T1" fmla="*/ 248 h 257"/>
                <a:gd name="T2" fmla="*/ 3 w 252"/>
                <a:gd name="T3" fmla="*/ 257 h 257"/>
                <a:gd name="T4" fmla="*/ 252 w 252"/>
                <a:gd name="T5" fmla="*/ 7 h 257"/>
                <a:gd name="T6" fmla="*/ 249 w 252"/>
                <a:gd name="T7" fmla="*/ 0 h 257"/>
                <a:gd name="T8" fmla="*/ 0 w 252"/>
                <a:gd name="T9" fmla="*/ 2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2" h="257">
                  <a:moveTo>
                    <a:pt x="0" y="248"/>
                  </a:moveTo>
                  <a:cubicBezTo>
                    <a:pt x="1" y="251"/>
                    <a:pt x="2" y="254"/>
                    <a:pt x="3" y="257"/>
                  </a:cubicBezTo>
                  <a:lnTo>
                    <a:pt x="252" y="7"/>
                  </a:lnTo>
                  <a:cubicBezTo>
                    <a:pt x="251" y="5"/>
                    <a:pt x="250" y="2"/>
                    <a:pt x="249" y="0"/>
                  </a:cubicBezTo>
                  <a:lnTo>
                    <a:pt x="0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24"/>
            <p:cNvSpPr>
              <a:spLocks/>
            </p:cNvSpPr>
            <p:nvPr/>
          </p:nvSpPr>
          <p:spPr bwMode="auto">
            <a:xfrm>
              <a:off x="3909" y="1240"/>
              <a:ext cx="585" cy="598"/>
            </a:xfrm>
            <a:custGeom>
              <a:avLst/>
              <a:gdLst>
                <a:gd name="T0" fmla="*/ 0 w 247"/>
                <a:gd name="T1" fmla="*/ 243 h 252"/>
                <a:gd name="T2" fmla="*/ 3 w 247"/>
                <a:gd name="T3" fmla="*/ 252 h 252"/>
                <a:gd name="T4" fmla="*/ 247 w 247"/>
                <a:gd name="T5" fmla="*/ 7 h 252"/>
                <a:gd name="T6" fmla="*/ 243 w 247"/>
                <a:gd name="T7" fmla="*/ 0 h 252"/>
                <a:gd name="T8" fmla="*/ 0 w 247"/>
                <a:gd name="T9" fmla="*/ 24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52">
                  <a:moveTo>
                    <a:pt x="0" y="243"/>
                  </a:moveTo>
                  <a:cubicBezTo>
                    <a:pt x="1" y="246"/>
                    <a:pt x="2" y="249"/>
                    <a:pt x="3" y="252"/>
                  </a:cubicBezTo>
                  <a:lnTo>
                    <a:pt x="247" y="7"/>
                  </a:lnTo>
                  <a:cubicBezTo>
                    <a:pt x="246" y="5"/>
                    <a:pt x="245" y="2"/>
                    <a:pt x="243" y="0"/>
                  </a:cubicBezTo>
                  <a:lnTo>
                    <a:pt x="0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0" name="Grafikk 9">
            <a:extLst>
              <a:ext uri="{FF2B5EF4-FFF2-40B4-BE49-F238E27FC236}">
                <a16:creationId xmlns:a16="http://schemas.microsoft.com/office/drawing/2014/main" id="{6CAEA097-8E2E-6649-9431-F8FE21DF405D}"/>
              </a:ext>
            </a:extLst>
          </p:cNvPr>
          <p:cNvPicPr>
            <a:picLocks noChangeAspect="1"/>
          </p:cNvPicPr>
          <p:nvPr userDrawn="1"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0451429" y="6271064"/>
            <a:ext cx="1237527" cy="33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6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  <p:sldLayoutId id="2147483875" r:id="rId25"/>
    <p:sldLayoutId id="2147483876" r:id="rId26"/>
    <p:sldLayoutId id="2147483877" r:id="rId27"/>
    <p:sldLayoutId id="2147483878" r:id="rId28"/>
    <p:sldLayoutId id="2147483879" r:id="rId29"/>
    <p:sldLayoutId id="2147483880" r:id="rId30"/>
    <p:sldLayoutId id="2147483881" r:id="rId31"/>
    <p:sldLayoutId id="2147483882" r:id="rId32"/>
    <p:sldLayoutId id="2147483883" r:id="rId33"/>
    <p:sldLayoutId id="2147483884" r:id="rId34"/>
    <p:sldLayoutId id="2147483885" r:id="rId35"/>
    <p:sldLayoutId id="2147483886" r:id="rId36"/>
    <p:sldLayoutId id="2147483887" r:id="rId37"/>
    <p:sldLayoutId id="2147483888" r:id="rId38"/>
    <p:sldLayoutId id="2147483889" r:id="rId39"/>
    <p:sldLayoutId id="2147483890" r:id="rId40"/>
    <p:sldLayoutId id="2147483891" r:id="rId41"/>
    <p:sldLayoutId id="2147483892" r:id="rId42"/>
    <p:sldLayoutId id="2147483893" r:id="rId43"/>
    <p:sldLayoutId id="2147483894" r:id="rId44"/>
    <p:sldLayoutId id="2147483895" r:id="rId45"/>
    <p:sldLayoutId id="2147483896" r:id="rId46"/>
    <p:sldLayoutId id="2147483897" r:id="rId47"/>
    <p:sldLayoutId id="2147483898" r:id="rId48"/>
    <p:sldLayoutId id="2147483899" r:id="rId49"/>
    <p:sldLayoutId id="2147483900" r:id="rId50"/>
    <p:sldLayoutId id="2147483901" r:id="rId51"/>
    <p:sldLayoutId id="2147483902" r:id="rId52"/>
    <p:sldLayoutId id="2147483903" r:id="rId53"/>
    <p:sldLayoutId id="2147483904" r:id="rId54"/>
    <p:sldLayoutId id="2147483905" r:id="rId55"/>
    <p:sldLayoutId id="2147483906" r:id="rId56"/>
    <p:sldLayoutId id="2147483907" r:id="rId57"/>
    <p:sldLayoutId id="2147483908" r:id="rId58"/>
    <p:sldLayoutId id="2147483910" r:id="rId59"/>
    <p:sldLayoutId id="2147483911" r:id="rId60"/>
    <p:sldLayoutId id="2147483912" r:id="rId61"/>
    <p:sldLayoutId id="2147483913" r:id="rId6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135000"/>
        <a:buFont typeface="System Font Regular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338">
          <p15:clr>
            <a:srgbClr val="F26B43"/>
          </p15:clr>
        </p15:guide>
        <p15:guide id="3" pos="7331">
          <p15:clr>
            <a:srgbClr val="F26B43"/>
          </p15:clr>
        </p15:guide>
        <p15:guide id="5" orient="horz" pos="3748">
          <p15:clr>
            <a:srgbClr val="F26B43"/>
          </p15:clr>
        </p15:guide>
        <p15:guide id="6" orient="horz" pos="1082">
          <p15:clr>
            <a:srgbClr val="F26B43"/>
          </p15:clr>
        </p15:guide>
        <p15:guide id="7" orient="horz" pos="720">
          <p15:clr>
            <a:srgbClr val="F26B43"/>
          </p15:clr>
        </p15:guide>
        <p15:guide id="8" orient="horz" pos="4135">
          <p15:clr>
            <a:srgbClr val="F26B43"/>
          </p15:clr>
        </p15:guide>
        <p15:guide id="9" pos="4951">
          <p15:clr>
            <a:srgbClr val="F26B43"/>
          </p15:clr>
        </p15:guide>
        <p15:guide id="10" pos="4725">
          <p15:clr>
            <a:srgbClr val="F26B43"/>
          </p15:clr>
        </p15:guide>
        <p15:guide id="11" pos="3829">
          <p15:clr>
            <a:srgbClr val="F26B43"/>
          </p15:clr>
        </p15:guide>
        <p15:guide id="12" pos="3740">
          <p15:clr>
            <a:srgbClr val="F26B43"/>
          </p15:clr>
        </p15:guide>
        <p15:guide id="13" pos="39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B4D4DCA4-D99A-DBC9-307D-C24D4DA0DD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123" y="2711745"/>
            <a:ext cx="6137603" cy="1660754"/>
          </a:xfrm>
        </p:spPr>
        <p:txBody>
          <a:bodyPr/>
          <a:lstStyle/>
          <a:p>
            <a:r>
              <a:rPr lang="nb-NO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Interessentanalyse</a:t>
            </a:r>
          </a:p>
        </p:txBody>
      </p:sp>
      <p:graphicFrame>
        <p:nvGraphicFramePr>
          <p:cNvPr id="5" name="Diagram 4" descr="Bildet viser prosesspilen med de fire stegene i anskaffelsesstrategiprosessen. Det første prosess-steget &quot;forankre g planleggei&quot;, er uthevet, for å illustrere at denne veiledningen er ment å brukes i denne fasen.">
            <a:extLst>
              <a:ext uri="{FF2B5EF4-FFF2-40B4-BE49-F238E27FC236}">
                <a16:creationId xmlns:a16="http://schemas.microsoft.com/office/drawing/2014/main" id="{28B60DCB-9903-6A70-029D-45A0366611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5945662"/>
              </p:ext>
            </p:extLst>
          </p:nvPr>
        </p:nvGraphicFramePr>
        <p:xfrm>
          <a:off x="551992" y="-638687"/>
          <a:ext cx="8128000" cy="37910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tel 3">
            <a:extLst>
              <a:ext uri="{FF2B5EF4-FFF2-40B4-BE49-F238E27FC236}">
                <a16:creationId xmlns:a16="http://schemas.microsoft.com/office/drawing/2014/main" id="{180B7775-D3CE-184B-520E-279D2355F173}"/>
              </a:ext>
            </a:extLst>
          </p:cNvPr>
          <p:cNvSpPr txBox="1">
            <a:spLocks/>
          </p:cNvSpPr>
          <p:nvPr/>
        </p:nvSpPr>
        <p:spPr>
          <a:xfrm>
            <a:off x="551992" y="-80194"/>
            <a:ext cx="6137603" cy="110136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400" b="0" cap="none" dirty="0">
                <a:latin typeface="Source Sans Pro" panose="020B0503030403020204" pitchFamily="34" charset="0"/>
                <a:ea typeface="Source Sans Pro" panose="020B0503030403020204" pitchFamily="34" charset="0"/>
              </a:rPr>
              <a:t>Veiledning til </a:t>
            </a:r>
            <a:r>
              <a:rPr lang="nb-NO" sz="1400" b="0" cap="none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ankaffelsesstrategiprosessen</a:t>
            </a:r>
            <a:endParaRPr lang="nb-NO" sz="1400" b="0" cap="none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073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530E2BA-D5B7-AF4E-1F02-4FB852DDC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Hvorfor gjennomføre en interessentanalyse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BCDA0C7-2DB1-4E40-B5D2-FB308314402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2000" dirty="0">
                <a:latin typeface="Source Sans Pro" panose="020B0503030403020204" pitchFamily="34" charset="0"/>
              </a:rPr>
              <a:t>De positive effektene av anskaffelser skjer i samspill mellom innkjøpsenheten, fagavdelingene og ledelsen. En god strategi har mål som henger sammen med virksomhetens overordnede mål, og er godt forankret i organisasjonen. </a:t>
            </a:r>
          </a:p>
          <a:p>
            <a:pPr marL="0" indent="0">
              <a:buNone/>
            </a:pPr>
            <a:endParaRPr lang="nb-NO" sz="2000" dirty="0">
              <a:latin typeface="Source Sans Pro" panose="020B0503030403020204" pitchFamily="34" charset="0"/>
            </a:endParaRPr>
          </a:p>
          <a:p>
            <a:pPr marL="0" indent="0">
              <a:buNone/>
            </a:pPr>
            <a:r>
              <a:rPr lang="nb-NO" sz="2000" dirty="0">
                <a:latin typeface="Source Sans Pro" panose="020B0503030403020204" pitchFamily="34" charset="0"/>
              </a:rPr>
              <a:t>Det er derfor viktig at de riktige interessentene involveres i arbeidet med å lage anskaffelsesstrategien. Det er både viktig for kvaliteten på strategien, og for å sikre forankring hos ledelsen og i fagavdelingene. En enkel interessentanalyse er et godt første steg på veien. Ved å fylle inn tabellen, har du et godt utgangspunkt for å planlegge involvering og dialog i anskaffelsesstrategiprosessen.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7894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530E2BA-D5B7-AF4E-1F02-4FB852DDC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Mal for interessentanalyse: hvem berøres av anskaffelsesstrategien? </a:t>
            </a:r>
          </a:p>
        </p:txBody>
      </p:sp>
      <p:graphicFrame>
        <p:nvGraphicFramePr>
          <p:cNvPr id="4" name="Tabell 4" descr="Mal for interessentanalyse i tabellform">
            <a:extLst>
              <a:ext uri="{FF2B5EF4-FFF2-40B4-BE49-F238E27FC236}">
                <a16:creationId xmlns:a16="http://schemas.microsoft.com/office/drawing/2014/main" id="{29662061-C940-DC39-3B66-8151BA3EE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006871"/>
              </p:ext>
            </p:extLst>
          </p:nvPr>
        </p:nvGraphicFramePr>
        <p:xfrm>
          <a:off x="99063" y="914494"/>
          <a:ext cx="11976411" cy="596619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03297">
                  <a:extLst>
                    <a:ext uri="{9D8B030D-6E8A-4147-A177-3AD203B41FA5}">
                      <a16:colId xmlns:a16="http://schemas.microsoft.com/office/drawing/2014/main" val="1781042586"/>
                    </a:ext>
                  </a:extLst>
                </a:gridCol>
                <a:gridCol w="2088838">
                  <a:extLst>
                    <a:ext uri="{9D8B030D-6E8A-4147-A177-3AD203B41FA5}">
                      <a16:colId xmlns:a16="http://schemas.microsoft.com/office/drawing/2014/main" val="4146221220"/>
                    </a:ext>
                  </a:extLst>
                </a:gridCol>
                <a:gridCol w="1996069">
                  <a:extLst>
                    <a:ext uri="{9D8B030D-6E8A-4147-A177-3AD203B41FA5}">
                      <a16:colId xmlns:a16="http://schemas.microsoft.com/office/drawing/2014/main" val="397834091"/>
                    </a:ext>
                  </a:extLst>
                </a:gridCol>
                <a:gridCol w="1996069">
                  <a:extLst>
                    <a:ext uri="{9D8B030D-6E8A-4147-A177-3AD203B41FA5}">
                      <a16:colId xmlns:a16="http://schemas.microsoft.com/office/drawing/2014/main" val="3736514426"/>
                    </a:ext>
                  </a:extLst>
                </a:gridCol>
                <a:gridCol w="1996069">
                  <a:extLst>
                    <a:ext uri="{9D8B030D-6E8A-4147-A177-3AD203B41FA5}">
                      <a16:colId xmlns:a16="http://schemas.microsoft.com/office/drawing/2014/main" val="2276746507"/>
                    </a:ext>
                  </a:extLst>
                </a:gridCol>
                <a:gridCol w="1996069">
                  <a:extLst>
                    <a:ext uri="{9D8B030D-6E8A-4147-A177-3AD203B41FA5}">
                      <a16:colId xmlns:a16="http://schemas.microsoft.com/office/drawing/2014/main" val="1176861420"/>
                    </a:ext>
                  </a:extLst>
                </a:gridCol>
              </a:tblGrid>
              <a:tr h="1082185">
                <a:tc>
                  <a:txBody>
                    <a:bodyPr/>
                    <a:lstStyle/>
                    <a:p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Interessent(gruppe)</a:t>
                      </a:r>
                    </a:p>
                  </a:txBody>
                  <a:tcPr>
                    <a:solidFill>
                      <a:srgbClr val="0097A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Hvilke interesser har interessenten i anskaffelser/strategi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Hvilken </a:t>
                      </a:r>
                      <a:r>
                        <a:rPr lang="nb-NO" sz="1400" b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holdning</a:t>
                      </a:r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har interessenten til ønsket utvikling? (negativ, nøytral, positi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Hvilken </a:t>
                      </a:r>
                      <a:r>
                        <a:rPr lang="nb-NO" sz="1400" b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innflytelse</a:t>
                      </a:r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har interessenten på måloppnåelse?</a:t>
                      </a:r>
                      <a:endParaRPr lang="nb-NO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  <a:p>
                      <a:pPr lvl="0">
                        <a:buNone/>
                      </a:pPr>
                      <a:r>
                        <a:rPr lang="nb-NO" sz="1400" b="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 (høy, middels, la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in tilnærming for å få støtte fra interessen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Hvilken rolle har interessenten i utforming av anskaffelses-strategie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338388"/>
                  </a:ext>
                </a:extLst>
              </a:tr>
              <a:tr h="1278208">
                <a:tc>
                  <a:txBody>
                    <a:bodyPr/>
                    <a:lstStyle/>
                    <a:p>
                      <a:r>
                        <a:rPr lang="nb-NO" sz="1200" i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Økonomisje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i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Ønske om bedre økonomistyring, og mer effektiv bruk av mid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i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Nøyt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i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Høy</a:t>
                      </a:r>
                    </a:p>
                  </a:txBody>
                  <a:tcPr>
                    <a:solidFill>
                      <a:srgbClr val="CBDDE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i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Samtale for å forstå mer av motivasjon og ambisjon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i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røfte potensial for besparelser med utgangspunkt i spendanaly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i="1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ltaker i faggrupp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9952144"/>
                  </a:ext>
                </a:extLst>
              </a:tr>
              <a:tr h="878103">
                <a:tc>
                  <a:txBody>
                    <a:bodyPr/>
                    <a:lstStyle/>
                    <a:p>
                      <a:r>
                        <a:rPr lang="nb-NO" sz="1200" i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Kommunaldirektør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011841"/>
                  </a:ext>
                </a:extLst>
              </a:tr>
              <a:tr h="878103"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206881"/>
                  </a:ext>
                </a:extLst>
              </a:tr>
              <a:tr h="878103"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244620"/>
                  </a:ext>
                </a:extLst>
              </a:tr>
              <a:tr h="878103"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09314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067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E4B4BB-CE4A-7D07-EC4C-C65C2C50D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Interessenters holdning og innflytels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137882E-55FB-37B8-8D4D-4603B8F35F9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år du fyller inn tabellen på forrige side, tar du blant annet stilling til interessentenes «holdning» og «innflytelse». Det vil hjelpe deg å identifisere de viktigste interessentene, og bestemme en god tilnærming for videre involvering i strategiarbeidet. Kombinasjonen av scorene på spørsmålene om «innflytelse» og «holdning» sier noe om risiko og muligheter, og er et godt utgangspunkt for å prioritere interessenter og tilnærming. For eksempel vil en interessent med mye innflytelse og negativ holdning, kreve en annen tilnærming og prioritering enn en interessent med lav innflytelse og positiv holdning. </a:t>
            </a:r>
          </a:p>
        </p:txBody>
      </p:sp>
    </p:spTree>
    <p:extLst>
      <p:ext uri="{BB962C8B-B14F-4D97-AF65-F5344CB8AC3E}">
        <p14:creationId xmlns:p14="http://schemas.microsoft.com/office/powerpoint/2010/main" val="166493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A0FCFD2-8D42-73E3-F2CD-F9368900E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Hvordan jobbe med å redusere motstand eller oppnå støtte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4E8483B-1DF9-5C23-90D2-9339B61B59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Det er ikke sikkert alle har de samme ambisjonene for utvikling av anskaffelsesfunksjonen, eller den samme forståelsen av anskaffelsers rolle i virksomheten. Ofte er det en god idé å ha tett dialog både med de som har størst motstand, og de som er potensielle støttespillere. Inviter inn til en uformell prat, med hensikt å bli bedre kjent med deres perspektiver og motivasjon. Du kan for eksempel ta utgangspunkt i disse spørsmålene:</a:t>
            </a:r>
          </a:p>
          <a:p>
            <a:pPr marL="0" indent="0">
              <a:buNone/>
            </a:pPr>
            <a:endParaRPr lang="nb-NO" sz="18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va er ditt forhold til anskaffelser i dag? (oppgaver, roller etc.)</a:t>
            </a:r>
          </a:p>
          <a:p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va er dine forventninger til anskaffelsesfunksjonen og min rolle som innkjøpsleder?</a:t>
            </a:r>
          </a:p>
          <a:p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va mener du er anskaffelsesfunksjonens viktigste oppgave?</a:t>
            </a:r>
          </a:p>
          <a:p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va synes du vi burde prioritere å jobbe med? </a:t>
            </a:r>
          </a:p>
          <a:p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ar du noen forslag til hvordan vi kan samarbeide bedre?</a:t>
            </a:r>
          </a:p>
          <a:p>
            <a:r>
              <a:rPr lang="nb-NO" sz="1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va ville du gjort annerledes hvis du hadde min rolle?</a:t>
            </a:r>
          </a:p>
          <a:p>
            <a:endParaRPr lang="nb-NO" sz="2000" dirty="0"/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0684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tyopiUNKBBflxL_mE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FØ ppt mal">
  <a:themeElements>
    <a:clrScheme name="DFØ-farger med mørk blå">
      <a:dk1>
        <a:srgbClr val="000000"/>
      </a:dk1>
      <a:lt1>
        <a:srgbClr val="FFFFFF"/>
      </a:lt1>
      <a:dk2>
        <a:srgbClr val="012A4C"/>
      </a:dk2>
      <a:lt2>
        <a:srgbClr val="E7E6E6"/>
      </a:lt2>
      <a:accent1>
        <a:srgbClr val="009FE3"/>
      </a:accent1>
      <a:accent2>
        <a:srgbClr val="00AB84"/>
      </a:accent2>
      <a:accent3>
        <a:srgbClr val="FCCB56"/>
      </a:accent3>
      <a:accent4>
        <a:srgbClr val="E83F53"/>
      </a:accent4>
      <a:accent5>
        <a:srgbClr val="0097AB"/>
      </a:accent5>
      <a:accent6>
        <a:srgbClr val="005B9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å">
      <a:srgbClr val="0085C0"/>
    </a:custClr>
    <a:custClr name="Grønn">
      <a:srgbClr val="0A8E6E"/>
    </a:custClr>
    <a:custClr name="Oransje">
      <a:srgbClr val="F0A519"/>
    </a:custClr>
    <a:custClr name="Rød">
      <a:srgbClr val="CA0D47"/>
    </a:custClr>
    <a:custClr name="Mørk turkis">
      <a:srgbClr val="0099AB"/>
    </a:custClr>
    <a:custClr name="Mørk blå">
      <a:srgbClr val="0D3B73"/>
    </a:custClr>
    <a:custClr name="Sort">
      <a:srgbClr val="000000"/>
    </a:custClr>
  </a:custClrLst>
  <a:extLst>
    <a:ext uri="{05A4C25C-085E-4340-85A3-A5531E510DB2}">
      <thm15:themeFamily xmlns:thm15="http://schemas.microsoft.com/office/thememl/2012/main" name="PP-mal-DFØ-4" id="{A3B289D5-C212-4060-B558-CB2F623F4E1A}" vid="{4797F2A0-F43A-445B-9C31-C040EC0BA0B5}"/>
    </a:ext>
  </a:extLst>
</a:theme>
</file>

<file path=ppt/theme/theme2.xml><?xml version="1.0" encoding="utf-8"?>
<a:theme xmlns:a="http://schemas.openxmlformats.org/drawingml/2006/main" name="1_DFØ ppt mal">
  <a:themeElements>
    <a:clrScheme name="DFØ-farger med mørk blå">
      <a:dk1>
        <a:srgbClr val="000000"/>
      </a:dk1>
      <a:lt1>
        <a:srgbClr val="FFFFFF"/>
      </a:lt1>
      <a:dk2>
        <a:srgbClr val="012A4C"/>
      </a:dk2>
      <a:lt2>
        <a:srgbClr val="E7E6E6"/>
      </a:lt2>
      <a:accent1>
        <a:srgbClr val="009FE3"/>
      </a:accent1>
      <a:accent2>
        <a:srgbClr val="00AB84"/>
      </a:accent2>
      <a:accent3>
        <a:srgbClr val="FCCB56"/>
      </a:accent3>
      <a:accent4>
        <a:srgbClr val="E83F53"/>
      </a:accent4>
      <a:accent5>
        <a:srgbClr val="0097AB"/>
      </a:accent5>
      <a:accent6>
        <a:srgbClr val="005B9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å">
      <a:srgbClr val="0085C0"/>
    </a:custClr>
    <a:custClr name="Grønn">
      <a:srgbClr val="0A8E6E"/>
    </a:custClr>
    <a:custClr name="Oransje">
      <a:srgbClr val="F0A519"/>
    </a:custClr>
    <a:custClr name="Rød">
      <a:srgbClr val="CA0D47"/>
    </a:custClr>
    <a:custClr name="Mørk turkis">
      <a:srgbClr val="0099AB"/>
    </a:custClr>
    <a:custClr name="Mørk blå">
      <a:srgbClr val="0D3B73"/>
    </a:custClr>
    <a:custClr name="Sort">
      <a:srgbClr val="000000"/>
    </a:custClr>
  </a:custClrLst>
  <a:extLst>
    <a:ext uri="{05A4C25C-085E-4340-85A3-A5531E510DB2}">
      <thm15:themeFamily xmlns:thm15="http://schemas.microsoft.com/office/thememl/2012/main" name="PP-mal-DFØ-4" id="{A3B289D5-C212-4060-B558-CB2F623F4E1A}" vid="{4797F2A0-F43A-445B-9C31-C040EC0BA0B5}"/>
    </a:ext>
  </a:extLst>
</a:theme>
</file>

<file path=ppt/theme/theme3.xml><?xml version="1.0" encoding="utf-8"?>
<a:theme xmlns:a="http://schemas.openxmlformats.org/drawingml/2006/main" name="2_DFØ ppt mal">
  <a:themeElements>
    <a:clrScheme name="DFØ_NY">
      <a:dk1>
        <a:srgbClr val="000000"/>
      </a:dk1>
      <a:lt1>
        <a:srgbClr val="FFFFFF"/>
      </a:lt1>
      <a:dk2>
        <a:srgbClr val="64666A"/>
      </a:dk2>
      <a:lt2>
        <a:srgbClr val="E7E6E6"/>
      </a:lt2>
      <a:accent1>
        <a:srgbClr val="009FE3"/>
      </a:accent1>
      <a:accent2>
        <a:srgbClr val="00AB84"/>
      </a:accent2>
      <a:accent3>
        <a:srgbClr val="FCCB56"/>
      </a:accent3>
      <a:accent4>
        <a:srgbClr val="E83F53"/>
      </a:accent4>
      <a:accent5>
        <a:srgbClr val="0097AB"/>
      </a:accent5>
      <a:accent6>
        <a:srgbClr val="005B9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å">
      <a:srgbClr val="0085C0"/>
    </a:custClr>
    <a:custClr name="Grønn">
      <a:srgbClr val="0A8E6E"/>
    </a:custClr>
    <a:custClr name="Oransje">
      <a:srgbClr val="F0A519"/>
    </a:custClr>
    <a:custClr name="Rød">
      <a:srgbClr val="CA0D47"/>
    </a:custClr>
    <a:custClr name="Mørk turkis">
      <a:srgbClr val="0099AB"/>
    </a:custClr>
    <a:custClr name="Mørk blå">
      <a:srgbClr val="0D3B73"/>
    </a:custClr>
    <a:custClr name="Sort">
      <a:srgbClr val="000000"/>
    </a:custClr>
  </a:custClrLst>
  <a:extLst>
    <a:ext uri="{05A4C25C-085E-4340-85A3-A5531E510DB2}">
      <thm15:themeFamily xmlns:thm15="http://schemas.microsoft.com/office/thememl/2012/main" name="DFØ_14276_PPT mal_DEF2.pptx" id="{04966DC7-439F-2640-88E6-C083C4CCDB67}" vid="{126DF14E-E6F0-2844-B891-6B42A96FB21D}"/>
    </a:ext>
  </a:extLst>
</a:theme>
</file>

<file path=ppt/theme/theme4.xml><?xml version="1.0" encoding="utf-8"?>
<a:theme xmlns:a="http://schemas.openxmlformats.org/drawingml/2006/main" name="3_DFØ ppt mal">
  <a:themeElements>
    <a:clrScheme name="DFØ_NY">
      <a:dk1>
        <a:srgbClr val="000000"/>
      </a:dk1>
      <a:lt1>
        <a:srgbClr val="FFFFFF"/>
      </a:lt1>
      <a:dk2>
        <a:srgbClr val="64666A"/>
      </a:dk2>
      <a:lt2>
        <a:srgbClr val="E7E6E6"/>
      </a:lt2>
      <a:accent1>
        <a:srgbClr val="009FE3"/>
      </a:accent1>
      <a:accent2>
        <a:srgbClr val="00AB84"/>
      </a:accent2>
      <a:accent3>
        <a:srgbClr val="FCCB56"/>
      </a:accent3>
      <a:accent4>
        <a:srgbClr val="E83F53"/>
      </a:accent4>
      <a:accent5>
        <a:srgbClr val="0097AB"/>
      </a:accent5>
      <a:accent6>
        <a:srgbClr val="005B9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Blå">
      <a:srgbClr val="0085C0"/>
    </a:custClr>
    <a:custClr name="Grønn">
      <a:srgbClr val="0A8E6E"/>
    </a:custClr>
    <a:custClr name="Oransje">
      <a:srgbClr val="F0A519"/>
    </a:custClr>
    <a:custClr name="Rød">
      <a:srgbClr val="CA0D47"/>
    </a:custClr>
    <a:custClr name="Mørk turkis">
      <a:srgbClr val="0099AB"/>
    </a:custClr>
    <a:custClr name="Mørk blå">
      <a:srgbClr val="0D3B73"/>
    </a:custClr>
    <a:custClr name="Sort">
      <a:srgbClr val="000000"/>
    </a:custClr>
  </a:custClrLst>
  <a:extLst>
    <a:ext uri="{05A4C25C-085E-4340-85A3-A5531E510DB2}">
      <thm15:themeFamily xmlns:thm15="http://schemas.microsoft.com/office/thememl/2012/main" name="PP-mal-DFØ-2" id="{77BA71AB-9AB5-41C8-ADBF-0DA25E093E72}" vid="{4CF97B3F-B09D-4F74-B56C-74CBB0F317F3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ECCAD850F1BD448DB75092B247B3E7" ma:contentTypeVersion="18" ma:contentTypeDescription="Opprett et nytt dokument." ma:contentTypeScope="" ma:versionID="2a2ee7ce4e6c81c118876d6fa18e9e43">
  <xsd:schema xmlns:xsd="http://www.w3.org/2001/XMLSchema" xmlns:xs="http://www.w3.org/2001/XMLSchema" xmlns:p="http://schemas.microsoft.com/office/2006/metadata/properties" xmlns:ns2="cdb96032-7ba7-4934-9f17-7414fd47aa97" xmlns:ns3="cb012662-f4c3-47c7-8dea-c6d0492350c8" targetNamespace="http://schemas.microsoft.com/office/2006/metadata/properties" ma:root="true" ma:fieldsID="52dc982042fb44e269a7d8e3f2bb8125" ns2:_="" ns3:_="">
    <xsd:import namespace="cdb96032-7ba7-4934-9f17-7414fd47aa97"/>
    <xsd:import namespace="cb012662-f4c3-47c7-8dea-c6d0492350c8"/>
    <xsd:element name="properties">
      <xsd:complexType>
        <xsd:sequence>
          <xsd:element name="documentManagement">
            <xsd:complexType>
              <xsd:all>
                <xsd:element ref="ns2:j25543a5815d485da9a5e0773ad762e9" minOccurs="0"/>
                <xsd:element ref="ns2:TaxCatchAll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2:SharedWithUsers" minOccurs="0"/>
                <xsd:element ref="ns2:SharedWithDetails" minOccurs="0"/>
                <xsd:element ref="ns3:MediaLengthInSeconds" minOccurs="0"/>
                <xsd:element ref="ns3:lcf76f155ced4ddcb4097134ff3c332f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b96032-7ba7-4934-9f17-7414fd47aa97" elementFormDefault="qualified">
    <xsd:import namespace="http://schemas.microsoft.com/office/2006/documentManagement/types"/>
    <xsd:import namespace="http://schemas.microsoft.com/office/infopath/2007/PartnerControls"/>
    <xsd:element name="j25543a5815d485da9a5e0773ad762e9" ma:index="9" nillable="true" ma:taxonomy="true" ma:internalName="j25543a5815d485da9a5e0773ad762e9" ma:taxonomyFieldName="GtProjectPhase" ma:displayName="Fase" ma:fieldId="{325543a5-815d-485d-a9a5-e0773ad762e9}" ma:sspId="eb0be57b-a27d-473a-a780-396a80130851" ma:termSetId="abcfc9d9-a263-4abb-8234-be973c46258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95c55b40-0b1b-4aaf-a8fb-19ff93768c1c}" ma:internalName="TaxCatchAll" ma:showField="CatchAllData" ma:web="cdb96032-7ba7-4934-9f17-7414fd47aa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012662-f4c3-47c7-8dea-c6d0492350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demerkelapper" ma:readOnly="false" ma:fieldId="{5cf76f15-5ced-4ddc-b409-7134ff3c332f}" ma:taxonomyMulti="true" ma:sspId="eb0be57b-a27d-473a-a780-396a801308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db96032-7ba7-4934-9f17-7414fd47aa97">
      <UserInfo>
        <DisplayName>Freddy Josefsen</DisplayName>
        <AccountId>173</AccountId>
        <AccountType/>
      </UserInfo>
      <UserInfo>
        <DisplayName>Terese Aas</DisplayName>
        <AccountId>246</AccountId>
        <AccountType/>
      </UserInfo>
      <UserInfo>
        <DisplayName>Siv Helén Egelund Gjerstad</DisplayName>
        <AccountId>20</AccountId>
        <AccountType/>
      </UserInfo>
      <UserInfo>
        <DisplayName>Anna Katrine Asprem Hvardal</DisplayName>
        <AccountId>14</AccountId>
        <AccountType/>
      </UserInfo>
    </SharedWithUsers>
    <TaxCatchAll xmlns="cdb96032-7ba7-4934-9f17-7414fd47aa97" xsi:nil="true"/>
    <lcf76f155ced4ddcb4097134ff3c332f xmlns="cb012662-f4c3-47c7-8dea-c6d0492350c8">
      <Terms xmlns="http://schemas.microsoft.com/office/infopath/2007/PartnerControls"/>
    </lcf76f155ced4ddcb4097134ff3c332f>
    <j25543a5815d485da9a5e0773ad762e9 xmlns="cdb96032-7ba7-4934-9f17-7414fd47aa97">
      <Terms xmlns="http://schemas.microsoft.com/office/infopath/2007/PartnerControls"/>
    </j25543a5815d485da9a5e0773ad762e9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78CD31-3EDA-4AB6-9545-7CD2B4E9B55E}">
  <ds:schemaRefs>
    <ds:schemaRef ds:uri="cb012662-f4c3-47c7-8dea-c6d0492350c8"/>
    <ds:schemaRef ds:uri="cdb96032-7ba7-4934-9f17-7414fd47aa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7F263EF-DBFF-4BF0-975E-43809E5C1189}">
  <ds:schemaRefs>
    <ds:schemaRef ds:uri="http://purl.org/dc/dcmitype/"/>
    <ds:schemaRef ds:uri="http://schemas.microsoft.com/office/2006/documentManagement/types"/>
    <ds:schemaRef ds:uri="cb012662-f4c3-47c7-8dea-c6d0492350c8"/>
    <ds:schemaRef ds:uri="http://purl.org/dc/elements/1.1/"/>
    <ds:schemaRef ds:uri="cdb96032-7ba7-4934-9f17-7414fd47aa97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0CD136A-20C4-48DD-B7EA-A5BF5FEB4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96</TotalTime>
  <Words>490</Words>
  <Application>Microsoft Office PowerPoint</Application>
  <PresentationFormat>Widescreen</PresentationFormat>
  <Paragraphs>39</Paragraphs>
  <Slides>5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7" baseType="lpstr">
      <vt:lpstr>Arial</vt:lpstr>
      <vt:lpstr>Book Antiqua</vt:lpstr>
      <vt:lpstr>Calibri</vt:lpstr>
      <vt:lpstr>Riks Normal</vt:lpstr>
      <vt:lpstr>Source Sans Pro</vt:lpstr>
      <vt:lpstr>Source Serif Pro</vt:lpstr>
      <vt:lpstr>System Font Regular</vt:lpstr>
      <vt:lpstr>DFØ ppt mal</vt:lpstr>
      <vt:lpstr>1_DFØ ppt mal</vt:lpstr>
      <vt:lpstr>2_DFØ ppt mal</vt:lpstr>
      <vt:lpstr>3_DFØ ppt mal</vt:lpstr>
      <vt:lpstr>think-cell Slide</vt:lpstr>
      <vt:lpstr>Interessentanalyse</vt:lpstr>
      <vt:lpstr>Hvorfor gjennomføre en interessentanalyse?</vt:lpstr>
      <vt:lpstr>Mal for interessentanalyse: hvem berøres av anskaffelsesstrategien? </vt:lpstr>
      <vt:lpstr>Interessenters holdning og innflytelse</vt:lpstr>
      <vt:lpstr>Hvordan jobbe med å redusere motstand eller oppnå støtte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Christian Sælemyr Johansen</dc:creator>
  <cp:lastModifiedBy>Siv Helén Egelund Gjerstad</cp:lastModifiedBy>
  <cp:revision>29</cp:revision>
  <cp:lastPrinted>2023-06-05T14:05:56Z</cp:lastPrinted>
  <dcterms:created xsi:type="dcterms:W3CDTF">2022-09-23T08:03:49Z</dcterms:created>
  <dcterms:modified xsi:type="dcterms:W3CDTF">2023-10-26T12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GtProjectPhase">
    <vt:lpwstr/>
  </property>
  <property fmtid="{D5CDD505-2E9C-101B-9397-08002B2CF9AE}" pid="4" name="ContentTypeId">
    <vt:lpwstr>0x01010010ECCAD850F1BD448DB75092B247B3E7</vt:lpwstr>
  </property>
</Properties>
</file>